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9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20" b="1" i="0" u="none" strike="noStrike" kern="1200" spc="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r>
              <a:rPr lang="en-IN" b="1">
                <a:solidFill>
                  <a:schemeClr val="tx1"/>
                </a:solidFill>
                <a:latin typeface="+mn-lt"/>
              </a:rPr>
              <a:t>Title</a:t>
            </a:r>
          </a:p>
        </c:rich>
      </c:tx>
      <c:layout>
        <c:manualLayout>
          <c:xMode val="edge"/>
          <c:yMode val="edge"/>
          <c:x val="0.45498223551633615"/>
          <c:y val="2.396185725148063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20" b="1" i="0" u="none" strike="noStrike" kern="1200" spc="0" baseline="0">
              <a:solidFill>
                <a:schemeClr val="tx1"/>
              </a:solidFill>
              <a:latin typeface="+mn-lt"/>
              <a:ea typeface="Arial"/>
              <a:cs typeface="Arial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8251545891767368E-2"/>
          <c:y val="0.14237777094351228"/>
          <c:w val="0.92916428888978697"/>
          <c:h val="0.560833872632351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Insert Text Here</c:v>
                </c:pt>
                <c:pt idx="1">
                  <c:v>Insert Text Here</c:v>
                </c:pt>
                <c:pt idx="2">
                  <c:v>Insert Text Her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EF-4D30-AEEA-4582589260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Insert Text Here</c:v>
                </c:pt>
                <c:pt idx="1">
                  <c:v>Insert Text Here</c:v>
                </c:pt>
                <c:pt idx="2">
                  <c:v>Insert Text Here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EF-4D30-AEEA-4582589260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64246255"/>
        <c:axId val="12568959"/>
      </c:barChart>
      <c:catAx>
        <c:axId val="4642462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2568959"/>
        <c:crosses val="autoZero"/>
        <c:auto val="1"/>
        <c:lblAlgn val="ctr"/>
        <c:lblOffset val="100"/>
        <c:noMultiLvlLbl val="0"/>
      </c:catAx>
      <c:valAx>
        <c:axId val="12568959"/>
        <c:scaling>
          <c:orientation val="minMax"/>
          <c:max val="5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464246255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548373002640692"/>
          <c:y val="0.88895071990491603"/>
          <c:w val="0.50675002958412163"/>
          <c:h val="0.108828812340922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Arial"/>
              <a:cs typeface="Arial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7F305C-D4B5-3347-8F13-E64764F313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9885905-F857-4D8B-334B-739FC0EA0C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885905-F857-4D8B-334B-739FC0EA0C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35A8537-128C-C4E6-6FFC-6369B2B7F0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se Study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B7B9392-55C6-836E-EB0A-BDCF2376928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Shape2_20210630_091508">
            <a:extLst>
              <a:ext uri="{FF2B5EF4-FFF2-40B4-BE49-F238E27FC236}">
                <a16:creationId xmlns:a16="http://schemas.microsoft.com/office/drawing/2014/main" id="{C37DCC02-1622-7660-5AF1-8F7511C165B6}"/>
              </a:ext>
            </a:extLst>
          </p:cNvPr>
          <p:cNvSpPr/>
          <p:nvPr/>
        </p:nvSpPr>
        <p:spPr>
          <a:xfrm>
            <a:off x="714254" y="2228736"/>
            <a:ext cx="586706" cy="584299"/>
          </a:xfrm>
          <a:custGeom>
            <a:avLst/>
            <a:gdLst/>
            <a:ahLst/>
            <a:cxnLst/>
            <a:rect l="l" t="t" r="r" b="b"/>
            <a:pathLst>
              <a:path w="3657" h="3636" extrusionOk="0">
                <a:moveTo>
                  <a:pt x="1829" y="123"/>
                </a:moveTo>
                <a:lnTo>
                  <a:pt x="1716" y="128"/>
                </a:lnTo>
                <a:lnTo>
                  <a:pt x="1606" y="138"/>
                </a:lnTo>
                <a:lnTo>
                  <a:pt x="1498" y="156"/>
                </a:lnTo>
                <a:lnTo>
                  <a:pt x="1393" y="180"/>
                </a:lnTo>
                <a:lnTo>
                  <a:pt x="1290" y="211"/>
                </a:lnTo>
                <a:lnTo>
                  <a:pt x="1190" y="247"/>
                </a:lnTo>
                <a:lnTo>
                  <a:pt x="1093" y="289"/>
                </a:lnTo>
                <a:lnTo>
                  <a:pt x="999" y="338"/>
                </a:lnTo>
                <a:lnTo>
                  <a:pt x="909" y="392"/>
                </a:lnTo>
                <a:lnTo>
                  <a:pt x="823" y="452"/>
                </a:lnTo>
                <a:lnTo>
                  <a:pt x="739" y="515"/>
                </a:lnTo>
                <a:lnTo>
                  <a:pt x="661" y="584"/>
                </a:lnTo>
                <a:lnTo>
                  <a:pt x="588" y="658"/>
                </a:lnTo>
                <a:lnTo>
                  <a:pt x="518" y="736"/>
                </a:lnTo>
                <a:lnTo>
                  <a:pt x="453" y="818"/>
                </a:lnTo>
                <a:lnTo>
                  <a:pt x="393" y="904"/>
                </a:lnTo>
                <a:lnTo>
                  <a:pt x="340" y="994"/>
                </a:lnTo>
                <a:lnTo>
                  <a:pt x="291" y="1087"/>
                </a:lnTo>
                <a:lnTo>
                  <a:pt x="248" y="1184"/>
                </a:lnTo>
                <a:lnTo>
                  <a:pt x="211" y="1283"/>
                </a:lnTo>
                <a:lnTo>
                  <a:pt x="180" y="1385"/>
                </a:lnTo>
                <a:lnTo>
                  <a:pt x="155" y="1490"/>
                </a:lnTo>
                <a:lnTo>
                  <a:pt x="138" y="1597"/>
                </a:lnTo>
                <a:lnTo>
                  <a:pt x="127" y="1707"/>
                </a:lnTo>
                <a:lnTo>
                  <a:pt x="124" y="1818"/>
                </a:lnTo>
                <a:lnTo>
                  <a:pt x="127" y="1929"/>
                </a:lnTo>
                <a:lnTo>
                  <a:pt x="138" y="2038"/>
                </a:lnTo>
                <a:lnTo>
                  <a:pt x="155" y="2145"/>
                </a:lnTo>
                <a:lnTo>
                  <a:pt x="180" y="2250"/>
                </a:lnTo>
                <a:lnTo>
                  <a:pt x="211" y="2353"/>
                </a:lnTo>
                <a:lnTo>
                  <a:pt x="248" y="2453"/>
                </a:lnTo>
                <a:lnTo>
                  <a:pt x="291" y="2548"/>
                </a:lnTo>
                <a:lnTo>
                  <a:pt x="340" y="2642"/>
                </a:lnTo>
                <a:lnTo>
                  <a:pt x="393" y="2732"/>
                </a:lnTo>
                <a:lnTo>
                  <a:pt x="453" y="2818"/>
                </a:lnTo>
                <a:lnTo>
                  <a:pt x="518" y="2900"/>
                </a:lnTo>
                <a:lnTo>
                  <a:pt x="588" y="2978"/>
                </a:lnTo>
                <a:lnTo>
                  <a:pt x="661" y="3052"/>
                </a:lnTo>
                <a:lnTo>
                  <a:pt x="739" y="3121"/>
                </a:lnTo>
                <a:lnTo>
                  <a:pt x="823" y="3185"/>
                </a:lnTo>
                <a:lnTo>
                  <a:pt x="909" y="3244"/>
                </a:lnTo>
                <a:lnTo>
                  <a:pt x="999" y="3298"/>
                </a:lnTo>
                <a:lnTo>
                  <a:pt x="1093" y="3346"/>
                </a:lnTo>
                <a:lnTo>
                  <a:pt x="1190" y="3389"/>
                </a:lnTo>
                <a:lnTo>
                  <a:pt x="1290" y="3426"/>
                </a:lnTo>
                <a:lnTo>
                  <a:pt x="1393" y="3456"/>
                </a:lnTo>
                <a:lnTo>
                  <a:pt x="1498" y="3480"/>
                </a:lnTo>
                <a:lnTo>
                  <a:pt x="1606" y="3497"/>
                </a:lnTo>
                <a:lnTo>
                  <a:pt x="1716" y="3509"/>
                </a:lnTo>
                <a:lnTo>
                  <a:pt x="1829" y="3512"/>
                </a:lnTo>
                <a:lnTo>
                  <a:pt x="1940" y="3509"/>
                </a:lnTo>
                <a:lnTo>
                  <a:pt x="2050" y="3497"/>
                </a:lnTo>
                <a:lnTo>
                  <a:pt x="2158" y="3480"/>
                </a:lnTo>
                <a:lnTo>
                  <a:pt x="2263" y="3456"/>
                </a:lnTo>
                <a:lnTo>
                  <a:pt x="2366" y="3426"/>
                </a:lnTo>
                <a:lnTo>
                  <a:pt x="2467" y="3389"/>
                </a:lnTo>
                <a:lnTo>
                  <a:pt x="2563" y="3346"/>
                </a:lnTo>
                <a:lnTo>
                  <a:pt x="2657" y="3298"/>
                </a:lnTo>
                <a:lnTo>
                  <a:pt x="2748" y="3244"/>
                </a:lnTo>
                <a:lnTo>
                  <a:pt x="2835" y="3185"/>
                </a:lnTo>
                <a:lnTo>
                  <a:pt x="2917" y="3121"/>
                </a:lnTo>
                <a:lnTo>
                  <a:pt x="2996" y="3052"/>
                </a:lnTo>
                <a:lnTo>
                  <a:pt x="3070" y="2978"/>
                </a:lnTo>
                <a:lnTo>
                  <a:pt x="3139" y="2900"/>
                </a:lnTo>
                <a:lnTo>
                  <a:pt x="3204" y="2818"/>
                </a:lnTo>
                <a:lnTo>
                  <a:pt x="3263" y="2732"/>
                </a:lnTo>
                <a:lnTo>
                  <a:pt x="3318" y="2642"/>
                </a:lnTo>
                <a:lnTo>
                  <a:pt x="3367" y="2548"/>
                </a:lnTo>
                <a:lnTo>
                  <a:pt x="3409" y="2453"/>
                </a:lnTo>
                <a:lnTo>
                  <a:pt x="3447" y="2353"/>
                </a:lnTo>
                <a:lnTo>
                  <a:pt x="3477" y="2250"/>
                </a:lnTo>
                <a:lnTo>
                  <a:pt x="3501" y="2145"/>
                </a:lnTo>
                <a:lnTo>
                  <a:pt x="3520" y="2038"/>
                </a:lnTo>
                <a:lnTo>
                  <a:pt x="3530" y="1929"/>
                </a:lnTo>
                <a:lnTo>
                  <a:pt x="3533" y="1818"/>
                </a:lnTo>
                <a:lnTo>
                  <a:pt x="3530" y="1707"/>
                </a:lnTo>
                <a:lnTo>
                  <a:pt x="3520" y="1597"/>
                </a:lnTo>
                <a:lnTo>
                  <a:pt x="3501" y="1490"/>
                </a:lnTo>
                <a:lnTo>
                  <a:pt x="3477" y="1385"/>
                </a:lnTo>
                <a:lnTo>
                  <a:pt x="3447" y="1283"/>
                </a:lnTo>
                <a:lnTo>
                  <a:pt x="3409" y="1184"/>
                </a:lnTo>
                <a:lnTo>
                  <a:pt x="3367" y="1087"/>
                </a:lnTo>
                <a:lnTo>
                  <a:pt x="3318" y="994"/>
                </a:lnTo>
                <a:lnTo>
                  <a:pt x="3263" y="904"/>
                </a:lnTo>
                <a:lnTo>
                  <a:pt x="3204" y="818"/>
                </a:lnTo>
                <a:lnTo>
                  <a:pt x="3139" y="736"/>
                </a:lnTo>
                <a:lnTo>
                  <a:pt x="3070" y="658"/>
                </a:lnTo>
                <a:lnTo>
                  <a:pt x="2996" y="584"/>
                </a:lnTo>
                <a:lnTo>
                  <a:pt x="2917" y="515"/>
                </a:lnTo>
                <a:lnTo>
                  <a:pt x="2835" y="452"/>
                </a:lnTo>
                <a:lnTo>
                  <a:pt x="2748" y="392"/>
                </a:lnTo>
                <a:lnTo>
                  <a:pt x="2657" y="338"/>
                </a:lnTo>
                <a:lnTo>
                  <a:pt x="2563" y="289"/>
                </a:lnTo>
                <a:lnTo>
                  <a:pt x="2467" y="247"/>
                </a:lnTo>
                <a:lnTo>
                  <a:pt x="2366" y="211"/>
                </a:lnTo>
                <a:lnTo>
                  <a:pt x="2263" y="180"/>
                </a:lnTo>
                <a:lnTo>
                  <a:pt x="2158" y="156"/>
                </a:lnTo>
                <a:lnTo>
                  <a:pt x="2050" y="138"/>
                </a:lnTo>
                <a:lnTo>
                  <a:pt x="1940" y="128"/>
                </a:lnTo>
                <a:lnTo>
                  <a:pt x="1829" y="123"/>
                </a:lnTo>
                <a:close/>
                <a:moveTo>
                  <a:pt x="1829" y="0"/>
                </a:moveTo>
                <a:lnTo>
                  <a:pt x="1943" y="5"/>
                </a:lnTo>
                <a:lnTo>
                  <a:pt x="2058" y="15"/>
                </a:lnTo>
                <a:lnTo>
                  <a:pt x="2169" y="32"/>
                </a:lnTo>
                <a:lnTo>
                  <a:pt x="2278" y="57"/>
                </a:lnTo>
                <a:lnTo>
                  <a:pt x="2385" y="87"/>
                </a:lnTo>
                <a:lnTo>
                  <a:pt x="2489" y="123"/>
                </a:lnTo>
                <a:lnTo>
                  <a:pt x="2590" y="166"/>
                </a:lnTo>
                <a:lnTo>
                  <a:pt x="2687" y="214"/>
                </a:lnTo>
                <a:lnTo>
                  <a:pt x="2782" y="267"/>
                </a:lnTo>
                <a:lnTo>
                  <a:pt x="2873" y="327"/>
                </a:lnTo>
                <a:lnTo>
                  <a:pt x="2960" y="391"/>
                </a:lnTo>
                <a:lnTo>
                  <a:pt x="3042" y="460"/>
                </a:lnTo>
                <a:lnTo>
                  <a:pt x="3121" y="533"/>
                </a:lnTo>
                <a:lnTo>
                  <a:pt x="3195" y="612"/>
                </a:lnTo>
                <a:lnTo>
                  <a:pt x="3265" y="695"/>
                </a:lnTo>
                <a:lnTo>
                  <a:pt x="3329" y="781"/>
                </a:lnTo>
                <a:lnTo>
                  <a:pt x="3389" y="871"/>
                </a:lnTo>
                <a:lnTo>
                  <a:pt x="3443" y="964"/>
                </a:lnTo>
                <a:lnTo>
                  <a:pt x="3492" y="1062"/>
                </a:lnTo>
                <a:lnTo>
                  <a:pt x="3535" y="1162"/>
                </a:lnTo>
                <a:lnTo>
                  <a:pt x="3571" y="1266"/>
                </a:lnTo>
                <a:lnTo>
                  <a:pt x="3602" y="1372"/>
                </a:lnTo>
                <a:lnTo>
                  <a:pt x="3626" y="1480"/>
                </a:lnTo>
                <a:lnTo>
                  <a:pt x="3644" y="1590"/>
                </a:lnTo>
                <a:lnTo>
                  <a:pt x="3654" y="1703"/>
                </a:lnTo>
                <a:lnTo>
                  <a:pt x="3657" y="1818"/>
                </a:lnTo>
                <a:lnTo>
                  <a:pt x="3654" y="1932"/>
                </a:lnTo>
                <a:lnTo>
                  <a:pt x="3644" y="2045"/>
                </a:lnTo>
                <a:lnTo>
                  <a:pt x="3626" y="2157"/>
                </a:lnTo>
                <a:lnTo>
                  <a:pt x="3602" y="2265"/>
                </a:lnTo>
                <a:lnTo>
                  <a:pt x="3571" y="2371"/>
                </a:lnTo>
                <a:lnTo>
                  <a:pt x="3535" y="2475"/>
                </a:lnTo>
                <a:lnTo>
                  <a:pt x="3492" y="2575"/>
                </a:lnTo>
                <a:lnTo>
                  <a:pt x="3443" y="2672"/>
                </a:lnTo>
                <a:lnTo>
                  <a:pt x="3389" y="2766"/>
                </a:lnTo>
                <a:lnTo>
                  <a:pt x="3329" y="2856"/>
                </a:lnTo>
                <a:lnTo>
                  <a:pt x="3265" y="2942"/>
                </a:lnTo>
                <a:lnTo>
                  <a:pt x="3195" y="3024"/>
                </a:lnTo>
                <a:lnTo>
                  <a:pt x="3121" y="3102"/>
                </a:lnTo>
                <a:lnTo>
                  <a:pt x="3042" y="3176"/>
                </a:lnTo>
                <a:lnTo>
                  <a:pt x="2960" y="3245"/>
                </a:lnTo>
                <a:lnTo>
                  <a:pt x="2873" y="3310"/>
                </a:lnTo>
                <a:lnTo>
                  <a:pt x="2782" y="3368"/>
                </a:lnTo>
                <a:lnTo>
                  <a:pt x="2687" y="3422"/>
                </a:lnTo>
                <a:lnTo>
                  <a:pt x="2590" y="3471"/>
                </a:lnTo>
                <a:lnTo>
                  <a:pt x="2489" y="3513"/>
                </a:lnTo>
                <a:lnTo>
                  <a:pt x="2385" y="3549"/>
                </a:lnTo>
                <a:lnTo>
                  <a:pt x="2278" y="3580"/>
                </a:lnTo>
                <a:lnTo>
                  <a:pt x="2169" y="3604"/>
                </a:lnTo>
                <a:lnTo>
                  <a:pt x="2058" y="3622"/>
                </a:lnTo>
                <a:lnTo>
                  <a:pt x="1943" y="3632"/>
                </a:lnTo>
                <a:lnTo>
                  <a:pt x="1829" y="3636"/>
                </a:lnTo>
                <a:lnTo>
                  <a:pt x="1713" y="3632"/>
                </a:lnTo>
                <a:lnTo>
                  <a:pt x="1599" y="3622"/>
                </a:lnTo>
                <a:lnTo>
                  <a:pt x="1488" y="3604"/>
                </a:lnTo>
                <a:lnTo>
                  <a:pt x="1379" y="3580"/>
                </a:lnTo>
                <a:lnTo>
                  <a:pt x="1272" y="3549"/>
                </a:lnTo>
                <a:lnTo>
                  <a:pt x="1168" y="3513"/>
                </a:lnTo>
                <a:lnTo>
                  <a:pt x="1067" y="3471"/>
                </a:lnTo>
                <a:lnTo>
                  <a:pt x="969" y="3422"/>
                </a:lnTo>
                <a:lnTo>
                  <a:pt x="875" y="3368"/>
                </a:lnTo>
                <a:lnTo>
                  <a:pt x="785" y="3310"/>
                </a:lnTo>
                <a:lnTo>
                  <a:pt x="698" y="3245"/>
                </a:lnTo>
                <a:lnTo>
                  <a:pt x="614" y="3176"/>
                </a:lnTo>
                <a:lnTo>
                  <a:pt x="535" y="3102"/>
                </a:lnTo>
                <a:lnTo>
                  <a:pt x="461" y="3024"/>
                </a:lnTo>
                <a:lnTo>
                  <a:pt x="392" y="2942"/>
                </a:lnTo>
                <a:lnTo>
                  <a:pt x="328" y="2856"/>
                </a:lnTo>
                <a:lnTo>
                  <a:pt x="268" y="2766"/>
                </a:lnTo>
                <a:lnTo>
                  <a:pt x="214" y="2672"/>
                </a:lnTo>
                <a:lnTo>
                  <a:pt x="166" y="2575"/>
                </a:lnTo>
                <a:lnTo>
                  <a:pt x="123" y="2475"/>
                </a:lnTo>
                <a:lnTo>
                  <a:pt x="86" y="2371"/>
                </a:lnTo>
                <a:lnTo>
                  <a:pt x="56" y="2265"/>
                </a:lnTo>
                <a:lnTo>
                  <a:pt x="31" y="2157"/>
                </a:lnTo>
                <a:lnTo>
                  <a:pt x="14" y="2045"/>
                </a:lnTo>
                <a:lnTo>
                  <a:pt x="3" y="1932"/>
                </a:lnTo>
                <a:lnTo>
                  <a:pt x="0" y="1818"/>
                </a:lnTo>
                <a:lnTo>
                  <a:pt x="3" y="1703"/>
                </a:lnTo>
                <a:lnTo>
                  <a:pt x="14" y="1590"/>
                </a:lnTo>
                <a:lnTo>
                  <a:pt x="31" y="1480"/>
                </a:lnTo>
                <a:lnTo>
                  <a:pt x="56" y="1372"/>
                </a:lnTo>
                <a:lnTo>
                  <a:pt x="86" y="1266"/>
                </a:lnTo>
                <a:lnTo>
                  <a:pt x="123" y="1162"/>
                </a:lnTo>
                <a:lnTo>
                  <a:pt x="166" y="1062"/>
                </a:lnTo>
                <a:lnTo>
                  <a:pt x="214" y="964"/>
                </a:lnTo>
                <a:lnTo>
                  <a:pt x="268" y="871"/>
                </a:lnTo>
                <a:lnTo>
                  <a:pt x="328" y="781"/>
                </a:lnTo>
                <a:lnTo>
                  <a:pt x="392" y="695"/>
                </a:lnTo>
                <a:lnTo>
                  <a:pt x="461" y="612"/>
                </a:lnTo>
                <a:lnTo>
                  <a:pt x="535" y="533"/>
                </a:lnTo>
                <a:lnTo>
                  <a:pt x="614" y="460"/>
                </a:lnTo>
                <a:lnTo>
                  <a:pt x="698" y="391"/>
                </a:lnTo>
                <a:lnTo>
                  <a:pt x="785" y="327"/>
                </a:lnTo>
                <a:lnTo>
                  <a:pt x="875" y="267"/>
                </a:lnTo>
                <a:lnTo>
                  <a:pt x="969" y="214"/>
                </a:lnTo>
                <a:lnTo>
                  <a:pt x="1067" y="166"/>
                </a:lnTo>
                <a:lnTo>
                  <a:pt x="1168" y="123"/>
                </a:lnTo>
                <a:lnTo>
                  <a:pt x="1272" y="87"/>
                </a:lnTo>
                <a:lnTo>
                  <a:pt x="1379" y="57"/>
                </a:lnTo>
                <a:lnTo>
                  <a:pt x="1488" y="32"/>
                </a:lnTo>
                <a:lnTo>
                  <a:pt x="1599" y="15"/>
                </a:lnTo>
                <a:lnTo>
                  <a:pt x="1713" y="5"/>
                </a:lnTo>
                <a:lnTo>
                  <a:pt x="1829" y="0"/>
                </a:lnTo>
                <a:close/>
              </a:path>
            </a:pathLst>
          </a:custGeom>
          <a:solidFill>
            <a:schemeClr val="tx2"/>
          </a:solidFill>
          <a:ln w="19050" cap="flat" cmpd="sng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>
              <a:buClr>
                <a:srgbClr val="000000"/>
              </a:buClr>
              <a:buSzPts val="1800"/>
              <a:defRPr/>
            </a:pPr>
            <a:endParaRPr sz="2800" dirty="0"/>
          </a:p>
        </p:txBody>
      </p:sp>
      <p:sp>
        <p:nvSpPr>
          <p:cNvPr id="7" name="Shape3_20210630_091508">
            <a:extLst>
              <a:ext uri="{FF2B5EF4-FFF2-40B4-BE49-F238E27FC236}">
                <a16:creationId xmlns:a16="http://schemas.microsoft.com/office/drawing/2014/main" id="{49B5DFDC-F488-FF1D-2F9E-8625DB56136E}"/>
              </a:ext>
            </a:extLst>
          </p:cNvPr>
          <p:cNvSpPr/>
          <p:nvPr/>
        </p:nvSpPr>
        <p:spPr>
          <a:xfrm>
            <a:off x="714254" y="4310130"/>
            <a:ext cx="586706" cy="582473"/>
          </a:xfrm>
          <a:custGeom>
            <a:avLst/>
            <a:gdLst/>
            <a:ahLst/>
            <a:cxnLst/>
            <a:rect l="l" t="t" r="r" b="b"/>
            <a:pathLst>
              <a:path w="3740" h="3713" extrusionOk="0">
                <a:moveTo>
                  <a:pt x="1870" y="125"/>
                </a:moveTo>
                <a:lnTo>
                  <a:pt x="1755" y="130"/>
                </a:lnTo>
                <a:lnTo>
                  <a:pt x="1642" y="141"/>
                </a:lnTo>
                <a:lnTo>
                  <a:pt x="1532" y="158"/>
                </a:lnTo>
                <a:lnTo>
                  <a:pt x="1424" y="183"/>
                </a:lnTo>
                <a:lnTo>
                  <a:pt x="1319" y="215"/>
                </a:lnTo>
                <a:lnTo>
                  <a:pt x="1217" y="251"/>
                </a:lnTo>
                <a:lnTo>
                  <a:pt x="1117" y="296"/>
                </a:lnTo>
                <a:lnTo>
                  <a:pt x="1022" y="345"/>
                </a:lnTo>
                <a:lnTo>
                  <a:pt x="929" y="399"/>
                </a:lnTo>
                <a:lnTo>
                  <a:pt x="840" y="461"/>
                </a:lnTo>
                <a:lnTo>
                  <a:pt x="756" y="525"/>
                </a:lnTo>
                <a:lnTo>
                  <a:pt x="675" y="596"/>
                </a:lnTo>
                <a:lnTo>
                  <a:pt x="600" y="671"/>
                </a:lnTo>
                <a:lnTo>
                  <a:pt x="529" y="751"/>
                </a:lnTo>
                <a:lnTo>
                  <a:pt x="463" y="835"/>
                </a:lnTo>
                <a:lnTo>
                  <a:pt x="402" y="923"/>
                </a:lnTo>
                <a:lnTo>
                  <a:pt x="347" y="1015"/>
                </a:lnTo>
                <a:lnTo>
                  <a:pt x="297" y="1110"/>
                </a:lnTo>
                <a:lnTo>
                  <a:pt x="254" y="1209"/>
                </a:lnTo>
                <a:lnTo>
                  <a:pt x="216" y="1310"/>
                </a:lnTo>
                <a:lnTo>
                  <a:pt x="184" y="1415"/>
                </a:lnTo>
                <a:lnTo>
                  <a:pt x="159" y="1522"/>
                </a:lnTo>
                <a:lnTo>
                  <a:pt x="141" y="1631"/>
                </a:lnTo>
                <a:lnTo>
                  <a:pt x="130" y="1743"/>
                </a:lnTo>
                <a:lnTo>
                  <a:pt x="127" y="1857"/>
                </a:lnTo>
                <a:lnTo>
                  <a:pt x="130" y="1970"/>
                </a:lnTo>
                <a:lnTo>
                  <a:pt x="141" y="2082"/>
                </a:lnTo>
                <a:lnTo>
                  <a:pt x="159" y="2191"/>
                </a:lnTo>
                <a:lnTo>
                  <a:pt x="184" y="2298"/>
                </a:lnTo>
                <a:lnTo>
                  <a:pt x="216" y="2403"/>
                </a:lnTo>
                <a:lnTo>
                  <a:pt x="254" y="2505"/>
                </a:lnTo>
                <a:lnTo>
                  <a:pt x="297" y="2603"/>
                </a:lnTo>
                <a:lnTo>
                  <a:pt x="347" y="2698"/>
                </a:lnTo>
                <a:lnTo>
                  <a:pt x="402" y="2790"/>
                </a:lnTo>
                <a:lnTo>
                  <a:pt x="463" y="2878"/>
                </a:lnTo>
                <a:lnTo>
                  <a:pt x="529" y="2962"/>
                </a:lnTo>
                <a:lnTo>
                  <a:pt x="600" y="3042"/>
                </a:lnTo>
                <a:lnTo>
                  <a:pt x="675" y="3117"/>
                </a:lnTo>
                <a:lnTo>
                  <a:pt x="756" y="3187"/>
                </a:lnTo>
                <a:lnTo>
                  <a:pt x="840" y="3253"/>
                </a:lnTo>
                <a:lnTo>
                  <a:pt x="929" y="3313"/>
                </a:lnTo>
                <a:lnTo>
                  <a:pt x="1022" y="3369"/>
                </a:lnTo>
                <a:lnTo>
                  <a:pt x="1117" y="3418"/>
                </a:lnTo>
                <a:lnTo>
                  <a:pt x="1217" y="3462"/>
                </a:lnTo>
                <a:lnTo>
                  <a:pt x="1319" y="3499"/>
                </a:lnTo>
                <a:lnTo>
                  <a:pt x="1424" y="3530"/>
                </a:lnTo>
                <a:lnTo>
                  <a:pt x="1532" y="3554"/>
                </a:lnTo>
                <a:lnTo>
                  <a:pt x="1642" y="3573"/>
                </a:lnTo>
                <a:lnTo>
                  <a:pt x="1755" y="3584"/>
                </a:lnTo>
                <a:lnTo>
                  <a:pt x="1870" y="3587"/>
                </a:lnTo>
                <a:lnTo>
                  <a:pt x="1984" y="3584"/>
                </a:lnTo>
                <a:lnTo>
                  <a:pt x="2096" y="3573"/>
                </a:lnTo>
                <a:lnTo>
                  <a:pt x="2207" y="3554"/>
                </a:lnTo>
                <a:lnTo>
                  <a:pt x="2314" y="3530"/>
                </a:lnTo>
                <a:lnTo>
                  <a:pt x="2420" y="3499"/>
                </a:lnTo>
                <a:lnTo>
                  <a:pt x="2523" y="3462"/>
                </a:lnTo>
                <a:lnTo>
                  <a:pt x="2621" y="3418"/>
                </a:lnTo>
                <a:lnTo>
                  <a:pt x="2717" y="3369"/>
                </a:lnTo>
                <a:lnTo>
                  <a:pt x="2810" y="3313"/>
                </a:lnTo>
                <a:lnTo>
                  <a:pt x="2899" y="3253"/>
                </a:lnTo>
                <a:lnTo>
                  <a:pt x="2983" y="3187"/>
                </a:lnTo>
                <a:lnTo>
                  <a:pt x="3063" y="3117"/>
                </a:lnTo>
                <a:lnTo>
                  <a:pt x="3139" y="3042"/>
                </a:lnTo>
                <a:lnTo>
                  <a:pt x="3210" y="2962"/>
                </a:lnTo>
                <a:lnTo>
                  <a:pt x="3277" y="2878"/>
                </a:lnTo>
                <a:lnTo>
                  <a:pt x="3337" y="2790"/>
                </a:lnTo>
                <a:lnTo>
                  <a:pt x="3393" y="2698"/>
                </a:lnTo>
                <a:lnTo>
                  <a:pt x="3443" y="2603"/>
                </a:lnTo>
                <a:lnTo>
                  <a:pt x="3486" y="2505"/>
                </a:lnTo>
                <a:lnTo>
                  <a:pt x="3524" y="2403"/>
                </a:lnTo>
                <a:lnTo>
                  <a:pt x="3555" y="2298"/>
                </a:lnTo>
                <a:lnTo>
                  <a:pt x="3580" y="2191"/>
                </a:lnTo>
                <a:lnTo>
                  <a:pt x="3598" y="2082"/>
                </a:lnTo>
                <a:lnTo>
                  <a:pt x="3610" y="1970"/>
                </a:lnTo>
                <a:lnTo>
                  <a:pt x="3613" y="1857"/>
                </a:lnTo>
                <a:lnTo>
                  <a:pt x="3610" y="1743"/>
                </a:lnTo>
                <a:lnTo>
                  <a:pt x="3598" y="1631"/>
                </a:lnTo>
                <a:lnTo>
                  <a:pt x="3580" y="1522"/>
                </a:lnTo>
                <a:lnTo>
                  <a:pt x="3555" y="1415"/>
                </a:lnTo>
                <a:lnTo>
                  <a:pt x="3524" y="1310"/>
                </a:lnTo>
                <a:lnTo>
                  <a:pt x="3486" y="1209"/>
                </a:lnTo>
                <a:lnTo>
                  <a:pt x="3443" y="1110"/>
                </a:lnTo>
                <a:lnTo>
                  <a:pt x="3393" y="1015"/>
                </a:lnTo>
                <a:lnTo>
                  <a:pt x="3337" y="923"/>
                </a:lnTo>
                <a:lnTo>
                  <a:pt x="3277" y="835"/>
                </a:lnTo>
                <a:lnTo>
                  <a:pt x="3210" y="751"/>
                </a:lnTo>
                <a:lnTo>
                  <a:pt x="3139" y="671"/>
                </a:lnTo>
                <a:lnTo>
                  <a:pt x="3063" y="596"/>
                </a:lnTo>
                <a:lnTo>
                  <a:pt x="2983" y="525"/>
                </a:lnTo>
                <a:lnTo>
                  <a:pt x="2899" y="461"/>
                </a:lnTo>
                <a:lnTo>
                  <a:pt x="2810" y="399"/>
                </a:lnTo>
                <a:lnTo>
                  <a:pt x="2717" y="345"/>
                </a:lnTo>
                <a:lnTo>
                  <a:pt x="2621" y="296"/>
                </a:lnTo>
                <a:lnTo>
                  <a:pt x="2523" y="251"/>
                </a:lnTo>
                <a:lnTo>
                  <a:pt x="2420" y="215"/>
                </a:lnTo>
                <a:lnTo>
                  <a:pt x="2314" y="183"/>
                </a:lnTo>
                <a:lnTo>
                  <a:pt x="2207" y="158"/>
                </a:lnTo>
                <a:lnTo>
                  <a:pt x="2096" y="141"/>
                </a:lnTo>
                <a:lnTo>
                  <a:pt x="1984" y="130"/>
                </a:lnTo>
                <a:lnTo>
                  <a:pt x="1870" y="125"/>
                </a:lnTo>
                <a:close/>
                <a:moveTo>
                  <a:pt x="1870" y="0"/>
                </a:moveTo>
                <a:lnTo>
                  <a:pt x="1870" y="0"/>
                </a:lnTo>
                <a:lnTo>
                  <a:pt x="1987" y="4"/>
                </a:lnTo>
                <a:lnTo>
                  <a:pt x="2105" y="15"/>
                </a:lnTo>
                <a:lnTo>
                  <a:pt x="2218" y="32"/>
                </a:lnTo>
                <a:lnTo>
                  <a:pt x="2330" y="57"/>
                </a:lnTo>
                <a:lnTo>
                  <a:pt x="2439" y="88"/>
                </a:lnTo>
                <a:lnTo>
                  <a:pt x="2545" y="125"/>
                </a:lnTo>
                <a:lnTo>
                  <a:pt x="2649" y="169"/>
                </a:lnTo>
                <a:lnTo>
                  <a:pt x="2748" y="218"/>
                </a:lnTo>
                <a:lnTo>
                  <a:pt x="2845" y="272"/>
                </a:lnTo>
                <a:lnTo>
                  <a:pt x="2938" y="334"/>
                </a:lnTo>
                <a:lnTo>
                  <a:pt x="3027" y="398"/>
                </a:lnTo>
                <a:lnTo>
                  <a:pt x="3111" y="469"/>
                </a:lnTo>
                <a:lnTo>
                  <a:pt x="3191" y="544"/>
                </a:lnTo>
                <a:lnTo>
                  <a:pt x="3267" y="624"/>
                </a:lnTo>
                <a:lnTo>
                  <a:pt x="3338" y="709"/>
                </a:lnTo>
                <a:lnTo>
                  <a:pt x="3405" y="797"/>
                </a:lnTo>
                <a:lnTo>
                  <a:pt x="3465" y="889"/>
                </a:lnTo>
                <a:lnTo>
                  <a:pt x="3521" y="984"/>
                </a:lnTo>
                <a:lnTo>
                  <a:pt x="3571" y="1084"/>
                </a:lnTo>
                <a:lnTo>
                  <a:pt x="3614" y="1186"/>
                </a:lnTo>
                <a:lnTo>
                  <a:pt x="3651" y="1291"/>
                </a:lnTo>
                <a:lnTo>
                  <a:pt x="3683" y="1401"/>
                </a:lnTo>
                <a:lnTo>
                  <a:pt x="3708" y="1511"/>
                </a:lnTo>
                <a:lnTo>
                  <a:pt x="3726" y="1624"/>
                </a:lnTo>
                <a:lnTo>
                  <a:pt x="3736" y="1739"/>
                </a:lnTo>
                <a:lnTo>
                  <a:pt x="3740" y="1857"/>
                </a:lnTo>
                <a:lnTo>
                  <a:pt x="3736" y="1973"/>
                </a:lnTo>
                <a:lnTo>
                  <a:pt x="3726" y="2089"/>
                </a:lnTo>
                <a:lnTo>
                  <a:pt x="3708" y="2203"/>
                </a:lnTo>
                <a:lnTo>
                  <a:pt x="3683" y="2313"/>
                </a:lnTo>
                <a:lnTo>
                  <a:pt x="3651" y="2422"/>
                </a:lnTo>
                <a:lnTo>
                  <a:pt x="3614" y="2528"/>
                </a:lnTo>
                <a:lnTo>
                  <a:pt x="3571" y="2630"/>
                </a:lnTo>
                <a:lnTo>
                  <a:pt x="3521" y="2729"/>
                </a:lnTo>
                <a:lnTo>
                  <a:pt x="3465" y="2824"/>
                </a:lnTo>
                <a:lnTo>
                  <a:pt x="3405" y="2917"/>
                </a:lnTo>
                <a:lnTo>
                  <a:pt x="3338" y="3005"/>
                </a:lnTo>
                <a:lnTo>
                  <a:pt x="3267" y="3089"/>
                </a:lnTo>
                <a:lnTo>
                  <a:pt x="3191" y="3169"/>
                </a:lnTo>
                <a:lnTo>
                  <a:pt x="3111" y="3244"/>
                </a:lnTo>
                <a:lnTo>
                  <a:pt x="3027" y="3315"/>
                </a:lnTo>
                <a:lnTo>
                  <a:pt x="2938" y="3380"/>
                </a:lnTo>
                <a:lnTo>
                  <a:pt x="2845" y="3440"/>
                </a:lnTo>
                <a:lnTo>
                  <a:pt x="2748" y="3496"/>
                </a:lnTo>
                <a:lnTo>
                  <a:pt x="2649" y="3545"/>
                </a:lnTo>
                <a:lnTo>
                  <a:pt x="2545" y="3589"/>
                </a:lnTo>
                <a:lnTo>
                  <a:pt x="2439" y="3625"/>
                </a:lnTo>
                <a:lnTo>
                  <a:pt x="2330" y="3657"/>
                </a:lnTo>
                <a:lnTo>
                  <a:pt x="2218" y="3680"/>
                </a:lnTo>
                <a:lnTo>
                  <a:pt x="2105" y="3699"/>
                </a:lnTo>
                <a:lnTo>
                  <a:pt x="1987" y="3710"/>
                </a:lnTo>
                <a:lnTo>
                  <a:pt x="1870" y="3713"/>
                </a:lnTo>
                <a:lnTo>
                  <a:pt x="1751" y="3710"/>
                </a:lnTo>
                <a:lnTo>
                  <a:pt x="1635" y="3699"/>
                </a:lnTo>
                <a:lnTo>
                  <a:pt x="1522" y="3680"/>
                </a:lnTo>
                <a:lnTo>
                  <a:pt x="1410" y="3657"/>
                </a:lnTo>
                <a:lnTo>
                  <a:pt x="1301" y="3625"/>
                </a:lnTo>
                <a:lnTo>
                  <a:pt x="1195" y="3589"/>
                </a:lnTo>
                <a:lnTo>
                  <a:pt x="1091" y="3545"/>
                </a:lnTo>
                <a:lnTo>
                  <a:pt x="991" y="3496"/>
                </a:lnTo>
                <a:lnTo>
                  <a:pt x="895" y="3440"/>
                </a:lnTo>
                <a:lnTo>
                  <a:pt x="802" y="3380"/>
                </a:lnTo>
                <a:lnTo>
                  <a:pt x="713" y="3315"/>
                </a:lnTo>
                <a:lnTo>
                  <a:pt x="628" y="3244"/>
                </a:lnTo>
                <a:lnTo>
                  <a:pt x="547" y="3169"/>
                </a:lnTo>
                <a:lnTo>
                  <a:pt x="472" y="3089"/>
                </a:lnTo>
                <a:lnTo>
                  <a:pt x="401" y="3005"/>
                </a:lnTo>
                <a:lnTo>
                  <a:pt x="335" y="2917"/>
                </a:lnTo>
                <a:lnTo>
                  <a:pt x="274" y="2824"/>
                </a:lnTo>
                <a:lnTo>
                  <a:pt x="219" y="2729"/>
                </a:lnTo>
                <a:lnTo>
                  <a:pt x="169" y="2630"/>
                </a:lnTo>
                <a:lnTo>
                  <a:pt x="126" y="2528"/>
                </a:lnTo>
                <a:lnTo>
                  <a:pt x="88" y="2422"/>
                </a:lnTo>
                <a:lnTo>
                  <a:pt x="57" y="2313"/>
                </a:lnTo>
                <a:lnTo>
                  <a:pt x="32" y="2203"/>
                </a:lnTo>
                <a:lnTo>
                  <a:pt x="14" y="2089"/>
                </a:lnTo>
                <a:lnTo>
                  <a:pt x="4" y="1973"/>
                </a:lnTo>
                <a:lnTo>
                  <a:pt x="0" y="1857"/>
                </a:lnTo>
                <a:lnTo>
                  <a:pt x="4" y="1739"/>
                </a:lnTo>
                <a:lnTo>
                  <a:pt x="14" y="1624"/>
                </a:lnTo>
                <a:lnTo>
                  <a:pt x="32" y="1511"/>
                </a:lnTo>
                <a:lnTo>
                  <a:pt x="57" y="1401"/>
                </a:lnTo>
                <a:lnTo>
                  <a:pt x="88" y="1291"/>
                </a:lnTo>
                <a:lnTo>
                  <a:pt x="126" y="1186"/>
                </a:lnTo>
                <a:lnTo>
                  <a:pt x="169" y="1084"/>
                </a:lnTo>
                <a:lnTo>
                  <a:pt x="219" y="984"/>
                </a:lnTo>
                <a:lnTo>
                  <a:pt x="274" y="889"/>
                </a:lnTo>
                <a:lnTo>
                  <a:pt x="335" y="797"/>
                </a:lnTo>
                <a:lnTo>
                  <a:pt x="401" y="709"/>
                </a:lnTo>
                <a:lnTo>
                  <a:pt x="472" y="624"/>
                </a:lnTo>
                <a:lnTo>
                  <a:pt x="547" y="544"/>
                </a:lnTo>
                <a:lnTo>
                  <a:pt x="628" y="469"/>
                </a:lnTo>
                <a:lnTo>
                  <a:pt x="713" y="398"/>
                </a:lnTo>
                <a:lnTo>
                  <a:pt x="802" y="334"/>
                </a:lnTo>
                <a:lnTo>
                  <a:pt x="895" y="272"/>
                </a:lnTo>
                <a:lnTo>
                  <a:pt x="991" y="218"/>
                </a:lnTo>
                <a:lnTo>
                  <a:pt x="1091" y="169"/>
                </a:lnTo>
                <a:lnTo>
                  <a:pt x="1195" y="125"/>
                </a:lnTo>
                <a:lnTo>
                  <a:pt x="1301" y="88"/>
                </a:lnTo>
                <a:lnTo>
                  <a:pt x="1410" y="57"/>
                </a:lnTo>
                <a:lnTo>
                  <a:pt x="1522" y="32"/>
                </a:lnTo>
                <a:lnTo>
                  <a:pt x="1635" y="15"/>
                </a:lnTo>
                <a:lnTo>
                  <a:pt x="1751" y="4"/>
                </a:lnTo>
                <a:lnTo>
                  <a:pt x="1870" y="0"/>
                </a:lnTo>
                <a:close/>
              </a:path>
            </a:pathLst>
          </a:custGeom>
          <a:solidFill>
            <a:schemeClr val="tx2"/>
          </a:solidFill>
          <a:ln w="19050" cap="flat" cmpd="sng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>
              <a:buClr>
                <a:srgbClr val="000000"/>
              </a:buClr>
              <a:buSzPts val="1800"/>
            </a:pPr>
            <a:endParaRPr sz="2800" dirty="0"/>
          </a:p>
        </p:txBody>
      </p:sp>
      <p:sp>
        <p:nvSpPr>
          <p:cNvPr id="8" name="Shape1_20210621_150455">
            <a:extLst>
              <a:ext uri="{FF2B5EF4-FFF2-40B4-BE49-F238E27FC236}">
                <a16:creationId xmlns:a16="http://schemas.microsoft.com/office/drawing/2014/main" id="{EF42ADD7-89D4-8C32-4512-9BA40D03A197}"/>
              </a:ext>
            </a:extLst>
          </p:cNvPr>
          <p:cNvSpPr txBox="1"/>
          <p:nvPr/>
        </p:nvSpPr>
        <p:spPr>
          <a:xfrm>
            <a:off x="1446809" y="2397772"/>
            <a:ext cx="156653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dirty="0"/>
              <a:t>Insert text here</a:t>
            </a:r>
          </a:p>
        </p:txBody>
      </p:sp>
      <p:sp>
        <p:nvSpPr>
          <p:cNvPr id="9" name="Shape2_20210621_150455">
            <a:extLst>
              <a:ext uri="{FF2B5EF4-FFF2-40B4-BE49-F238E27FC236}">
                <a16:creationId xmlns:a16="http://schemas.microsoft.com/office/drawing/2014/main" id="{EA4FDDA5-B01D-A40C-7297-113F1DEB0CDC}"/>
              </a:ext>
            </a:extLst>
          </p:cNvPr>
          <p:cNvSpPr txBox="1"/>
          <p:nvPr/>
        </p:nvSpPr>
        <p:spPr>
          <a:xfrm>
            <a:off x="1446809" y="4478253"/>
            <a:ext cx="156653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dirty="0"/>
              <a:t>Insert text here</a:t>
            </a:r>
          </a:p>
        </p:txBody>
      </p:sp>
      <p:sp>
        <p:nvSpPr>
          <p:cNvPr id="10" name="Google Shape;504;p3">
            <a:extLst>
              <a:ext uri="{FF2B5EF4-FFF2-40B4-BE49-F238E27FC236}">
                <a16:creationId xmlns:a16="http://schemas.microsoft.com/office/drawing/2014/main" id="{60FF1898-B997-A60C-4C9A-498CE3676DE5}"/>
              </a:ext>
            </a:extLst>
          </p:cNvPr>
          <p:cNvSpPr txBox="1"/>
          <p:nvPr/>
        </p:nvSpPr>
        <p:spPr>
          <a:xfrm>
            <a:off x="714252" y="1690723"/>
            <a:ext cx="241550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104A65"/>
              </a:buClr>
              <a:buSzPts val="2000"/>
              <a:buFont typeface="Arial"/>
              <a:buNone/>
            </a:pPr>
            <a:r>
              <a:rPr lang="en-US" sz="1600" b="1" dirty="0"/>
              <a:t>Title</a:t>
            </a:r>
            <a:endParaRPr sz="1600" b="1" dirty="0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680A15C9-5720-74A5-10E6-05ACDC1022BE}"/>
              </a:ext>
            </a:extLst>
          </p:cNvPr>
          <p:cNvGraphicFramePr/>
          <p:nvPr/>
        </p:nvGraphicFramePr>
        <p:xfrm>
          <a:off x="3703570" y="1653050"/>
          <a:ext cx="7970270" cy="26774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97" name="Group 96">
            <a:extLst>
              <a:ext uri="{FF2B5EF4-FFF2-40B4-BE49-F238E27FC236}">
                <a16:creationId xmlns:a16="http://schemas.microsoft.com/office/drawing/2014/main" id="{899004CB-B007-601B-EC3D-F00C22ED55E3}"/>
              </a:ext>
            </a:extLst>
          </p:cNvPr>
          <p:cNvGrpSpPr/>
          <p:nvPr/>
        </p:nvGrpSpPr>
        <p:grpSpPr>
          <a:xfrm>
            <a:off x="852503" y="2367072"/>
            <a:ext cx="310210" cy="307624"/>
            <a:chOff x="852503" y="2367072"/>
            <a:chExt cx="310210" cy="307624"/>
          </a:xfrm>
          <a:solidFill>
            <a:schemeClr val="accent1"/>
          </a:solidFill>
        </p:grpSpPr>
        <p:sp>
          <p:nvSpPr>
            <p:cNvPr id="12" name="Freeform 1532">
              <a:extLst>
                <a:ext uri="{FF2B5EF4-FFF2-40B4-BE49-F238E27FC236}">
                  <a16:creationId xmlns:a16="http://schemas.microsoft.com/office/drawing/2014/main" id="{C9B3B76A-00E3-949B-3B67-9E3121383C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43" y="2577756"/>
              <a:ext cx="76237" cy="74968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3" name="Freeform 1533">
              <a:extLst>
                <a:ext uri="{FF2B5EF4-FFF2-40B4-BE49-F238E27FC236}">
                  <a16:creationId xmlns:a16="http://schemas.microsoft.com/office/drawing/2014/main" id="{833BA89C-0F7A-2F71-F776-B23757C3F2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132" y="2369654"/>
              <a:ext cx="85440" cy="84016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4" name="Freeform 1534">
              <a:extLst>
                <a:ext uri="{FF2B5EF4-FFF2-40B4-BE49-F238E27FC236}">
                  <a16:creationId xmlns:a16="http://schemas.microsoft.com/office/drawing/2014/main" id="{B46A76DF-0CEA-129F-B8B3-50641E419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503" y="2414893"/>
              <a:ext cx="95955" cy="73675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5" name="Freeform 1535">
              <a:extLst>
                <a:ext uri="{FF2B5EF4-FFF2-40B4-BE49-F238E27FC236}">
                  <a16:creationId xmlns:a16="http://schemas.microsoft.com/office/drawing/2014/main" id="{E01B0EA9-4E6B-7D02-62F4-D974FC018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138" y="2367072"/>
              <a:ext cx="78867" cy="94355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6" name="Freeform 1536">
              <a:extLst>
                <a:ext uri="{FF2B5EF4-FFF2-40B4-BE49-F238E27FC236}">
                  <a16:creationId xmlns:a16="http://schemas.microsoft.com/office/drawing/2014/main" id="{0368BD0F-19D6-07A7-02A9-3ACBEEFB9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258" y="2473059"/>
              <a:ext cx="48634" cy="45239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7" name="Freeform 1537">
              <a:extLst>
                <a:ext uri="{FF2B5EF4-FFF2-40B4-BE49-F238E27FC236}">
                  <a16:creationId xmlns:a16="http://schemas.microsoft.com/office/drawing/2014/main" id="{5D44C515-7763-F712-0397-B50574B1E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3" y="2544150"/>
              <a:ext cx="49949" cy="47824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8" name="Freeform 1538">
              <a:extLst>
                <a:ext uri="{FF2B5EF4-FFF2-40B4-BE49-F238E27FC236}">
                  <a16:creationId xmlns:a16="http://schemas.microsoft.com/office/drawing/2014/main" id="{109343F8-498A-F6F1-E6D8-9A5741851FC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974" y="2453669"/>
              <a:ext cx="122243" cy="120207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9" name="Freeform 1539">
              <a:extLst>
                <a:ext uri="{FF2B5EF4-FFF2-40B4-BE49-F238E27FC236}">
                  <a16:creationId xmlns:a16="http://schemas.microsoft.com/office/drawing/2014/main" id="{9A72ADFB-4FD5-294F-D0C1-461674B628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155" y="2551904"/>
              <a:ext cx="123558" cy="122792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0" name="Freeform 1540">
              <a:extLst>
                <a:ext uri="{FF2B5EF4-FFF2-40B4-BE49-F238E27FC236}">
                  <a16:creationId xmlns:a16="http://schemas.microsoft.com/office/drawing/2014/main" id="{A0C7EDE6-2C62-CDD6-7044-7A55694E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8407" y="2379994"/>
              <a:ext cx="153789" cy="153813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1" name="Freeform 1541">
              <a:extLst>
                <a:ext uri="{FF2B5EF4-FFF2-40B4-BE49-F238E27FC236}">
                  <a16:creationId xmlns:a16="http://schemas.microsoft.com/office/drawing/2014/main" id="{9E4B52B0-792C-3962-6867-17056F2125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6447" y="2526055"/>
              <a:ext cx="149848" cy="143472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2" name="Freeform 1542">
              <a:extLst>
                <a:ext uri="{FF2B5EF4-FFF2-40B4-BE49-F238E27FC236}">
                  <a16:creationId xmlns:a16="http://schemas.microsoft.com/office/drawing/2014/main" id="{CCDA32D5-7109-03CE-B055-12E70CCA74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2916" y="2509249"/>
              <a:ext cx="60466" cy="56874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3" name="Freeform 1543">
              <a:extLst>
                <a:ext uri="{FF2B5EF4-FFF2-40B4-BE49-F238E27FC236}">
                  <a16:creationId xmlns:a16="http://schemas.microsoft.com/office/drawing/2014/main" id="{DEBAD237-4F7E-6CA4-9176-EF3150BE93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7223" y="2379997"/>
              <a:ext cx="26289" cy="25850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7E8DA0FD-8A85-8AD6-48BB-D9E4F9B2ACEF}"/>
              </a:ext>
            </a:extLst>
          </p:cNvPr>
          <p:cNvGrpSpPr/>
          <p:nvPr/>
        </p:nvGrpSpPr>
        <p:grpSpPr>
          <a:xfrm>
            <a:off x="863016" y="4455330"/>
            <a:ext cx="289178" cy="292066"/>
            <a:chOff x="863016" y="4455330"/>
            <a:chExt cx="289178" cy="292066"/>
          </a:xfrm>
          <a:solidFill>
            <a:schemeClr val="accent1"/>
          </a:solidFill>
        </p:grpSpPr>
        <p:sp>
          <p:nvSpPr>
            <p:cNvPr id="24" name="Freeform 380">
              <a:extLst>
                <a:ext uri="{FF2B5EF4-FFF2-40B4-BE49-F238E27FC236}">
                  <a16:creationId xmlns:a16="http://schemas.microsoft.com/office/drawing/2014/main" id="{328BB8C4-6D86-9D2F-9F0C-DA918B126D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3016" y="4455330"/>
              <a:ext cx="225559" cy="228450"/>
            </a:xfrm>
            <a:custGeom>
              <a:avLst/>
              <a:gdLst>
                <a:gd name="T0" fmla="*/ 142 w 285"/>
                <a:gd name="T1" fmla="*/ 285 h 285"/>
                <a:gd name="T2" fmla="*/ 0 w 285"/>
                <a:gd name="T3" fmla="*/ 143 h 285"/>
                <a:gd name="T4" fmla="*/ 142 w 285"/>
                <a:gd name="T5" fmla="*/ 0 h 285"/>
                <a:gd name="T6" fmla="*/ 285 w 285"/>
                <a:gd name="T7" fmla="*/ 143 h 285"/>
                <a:gd name="T8" fmla="*/ 142 w 285"/>
                <a:gd name="T9" fmla="*/ 285 h 285"/>
                <a:gd name="T10" fmla="*/ 142 w 285"/>
                <a:gd name="T11" fmla="*/ 12 h 285"/>
                <a:gd name="T12" fmla="*/ 12 w 285"/>
                <a:gd name="T13" fmla="*/ 143 h 285"/>
                <a:gd name="T14" fmla="*/ 142 w 285"/>
                <a:gd name="T15" fmla="*/ 273 h 285"/>
                <a:gd name="T16" fmla="*/ 273 w 285"/>
                <a:gd name="T17" fmla="*/ 143 h 285"/>
                <a:gd name="T18" fmla="*/ 142 w 285"/>
                <a:gd name="T19" fmla="*/ 12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5" h="285">
                  <a:moveTo>
                    <a:pt x="142" y="285"/>
                  </a:moveTo>
                  <a:cubicBezTo>
                    <a:pt x="64" y="285"/>
                    <a:pt x="0" y="221"/>
                    <a:pt x="0" y="143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5" y="64"/>
                    <a:pt x="285" y="143"/>
                  </a:cubicBezTo>
                  <a:cubicBezTo>
                    <a:pt x="285" y="221"/>
                    <a:pt x="221" y="285"/>
                    <a:pt x="142" y="285"/>
                  </a:cubicBezTo>
                  <a:close/>
                  <a:moveTo>
                    <a:pt x="142" y="12"/>
                  </a:moveTo>
                  <a:cubicBezTo>
                    <a:pt x="70" y="12"/>
                    <a:pt x="12" y="71"/>
                    <a:pt x="12" y="143"/>
                  </a:cubicBezTo>
                  <a:cubicBezTo>
                    <a:pt x="12" y="214"/>
                    <a:pt x="70" y="273"/>
                    <a:pt x="142" y="273"/>
                  </a:cubicBezTo>
                  <a:cubicBezTo>
                    <a:pt x="214" y="273"/>
                    <a:pt x="273" y="214"/>
                    <a:pt x="273" y="143"/>
                  </a:cubicBezTo>
                  <a:cubicBezTo>
                    <a:pt x="273" y="71"/>
                    <a:pt x="214" y="12"/>
                    <a:pt x="14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5" name="Freeform 381">
              <a:extLst>
                <a:ext uri="{FF2B5EF4-FFF2-40B4-BE49-F238E27FC236}">
                  <a16:creationId xmlns:a16="http://schemas.microsoft.com/office/drawing/2014/main" id="{5465DB47-1F51-3563-CBF0-5EAA347592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522" y="4628832"/>
              <a:ext cx="115672" cy="118564"/>
            </a:xfrm>
            <a:custGeom>
              <a:avLst/>
              <a:gdLst>
                <a:gd name="T0" fmla="*/ 119 w 145"/>
                <a:gd name="T1" fmla="*/ 146 h 146"/>
                <a:gd name="T2" fmla="*/ 100 w 145"/>
                <a:gd name="T3" fmla="*/ 138 h 146"/>
                <a:gd name="T4" fmla="*/ 2 w 145"/>
                <a:gd name="T5" fmla="*/ 40 h 146"/>
                <a:gd name="T6" fmla="*/ 2 w 145"/>
                <a:gd name="T7" fmla="*/ 32 h 146"/>
                <a:gd name="T8" fmla="*/ 31 w 145"/>
                <a:gd name="T9" fmla="*/ 3 h 146"/>
                <a:gd name="T10" fmla="*/ 40 w 145"/>
                <a:gd name="T11" fmla="*/ 3 h 146"/>
                <a:gd name="T12" fmla="*/ 138 w 145"/>
                <a:gd name="T13" fmla="*/ 100 h 146"/>
                <a:gd name="T14" fmla="*/ 145 w 145"/>
                <a:gd name="T15" fmla="*/ 119 h 146"/>
                <a:gd name="T16" fmla="*/ 138 w 145"/>
                <a:gd name="T17" fmla="*/ 138 h 146"/>
                <a:gd name="T18" fmla="*/ 119 w 145"/>
                <a:gd name="T19" fmla="*/ 146 h 146"/>
                <a:gd name="T20" fmla="*/ 15 w 145"/>
                <a:gd name="T21" fmla="*/ 36 h 146"/>
                <a:gd name="T22" fmla="*/ 109 w 145"/>
                <a:gd name="T23" fmla="*/ 129 h 146"/>
                <a:gd name="T24" fmla="*/ 109 w 145"/>
                <a:gd name="T25" fmla="*/ 129 h 146"/>
                <a:gd name="T26" fmla="*/ 129 w 145"/>
                <a:gd name="T27" fmla="*/ 129 h 146"/>
                <a:gd name="T28" fmla="*/ 133 w 145"/>
                <a:gd name="T29" fmla="*/ 119 h 146"/>
                <a:gd name="T30" fmla="*/ 129 w 145"/>
                <a:gd name="T31" fmla="*/ 109 h 146"/>
                <a:gd name="T32" fmla="*/ 36 w 145"/>
                <a:gd name="T33" fmla="*/ 16 h 146"/>
                <a:gd name="T34" fmla="*/ 15 w 145"/>
                <a:gd name="T35" fmla="*/ 3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6">
                  <a:moveTo>
                    <a:pt x="119" y="146"/>
                  </a:moveTo>
                  <a:cubicBezTo>
                    <a:pt x="112" y="146"/>
                    <a:pt x="105" y="143"/>
                    <a:pt x="100" y="13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38"/>
                    <a:pt x="0" y="34"/>
                    <a:pt x="2" y="3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4" y="0"/>
                    <a:pt x="38" y="0"/>
                    <a:pt x="40" y="3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43" y="105"/>
                    <a:pt x="145" y="112"/>
                    <a:pt x="145" y="119"/>
                  </a:cubicBezTo>
                  <a:cubicBezTo>
                    <a:pt x="145" y="126"/>
                    <a:pt x="143" y="133"/>
                    <a:pt x="138" y="138"/>
                  </a:cubicBezTo>
                  <a:cubicBezTo>
                    <a:pt x="132" y="143"/>
                    <a:pt x="126" y="146"/>
                    <a:pt x="119" y="146"/>
                  </a:cubicBezTo>
                  <a:close/>
                  <a:moveTo>
                    <a:pt x="15" y="36"/>
                  </a:moveTo>
                  <a:cubicBezTo>
                    <a:pt x="109" y="129"/>
                    <a:pt x="109" y="129"/>
                    <a:pt x="109" y="129"/>
                  </a:cubicBezTo>
                  <a:cubicBezTo>
                    <a:pt x="109" y="129"/>
                    <a:pt x="109" y="129"/>
                    <a:pt x="109" y="129"/>
                  </a:cubicBezTo>
                  <a:cubicBezTo>
                    <a:pt x="114" y="135"/>
                    <a:pt x="123" y="135"/>
                    <a:pt x="129" y="129"/>
                  </a:cubicBezTo>
                  <a:cubicBezTo>
                    <a:pt x="132" y="126"/>
                    <a:pt x="133" y="123"/>
                    <a:pt x="133" y="119"/>
                  </a:cubicBezTo>
                  <a:cubicBezTo>
                    <a:pt x="133" y="115"/>
                    <a:pt x="132" y="112"/>
                    <a:pt x="129" y="109"/>
                  </a:cubicBezTo>
                  <a:cubicBezTo>
                    <a:pt x="36" y="16"/>
                    <a:pt x="36" y="16"/>
                    <a:pt x="36" y="16"/>
                  </a:cubicBezTo>
                  <a:lnTo>
                    <a:pt x="15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6" name="Freeform 382">
              <a:extLst>
                <a:ext uri="{FF2B5EF4-FFF2-40B4-BE49-F238E27FC236}">
                  <a16:creationId xmlns:a16="http://schemas.microsoft.com/office/drawing/2014/main" id="{269206B2-BF71-4979-2F57-4CDF4D940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608" y="4492919"/>
              <a:ext cx="80971" cy="80971"/>
            </a:xfrm>
            <a:custGeom>
              <a:avLst/>
              <a:gdLst>
                <a:gd name="T0" fmla="*/ 6 w 99"/>
                <a:gd name="T1" fmla="*/ 100 h 100"/>
                <a:gd name="T2" fmla="*/ 0 w 99"/>
                <a:gd name="T3" fmla="*/ 94 h 100"/>
                <a:gd name="T4" fmla="*/ 93 w 99"/>
                <a:gd name="T5" fmla="*/ 0 h 100"/>
                <a:gd name="T6" fmla="*/ 99 w 99"/>
                <a:gd name="T7" fmla="*/ 6 h 100"/>
                <a:gd name="T8" fmla="*/ 93 w 99"/>
                <a:gd name="T9" fmla="*/ 12 h 100"/>
                <a:gd name="T10" fmla="*/ 12 w 99"/>
                <a:gd name="T11" fmla="*/ 94 h 100"/>
                <a:gd name="T12" fmla="*/ 6 w 99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100">
                  <a:moveTo>
                    <a:pt x="6" y="100"/>
                  </a:moveTo>
                  <a:cubicBezTo>
                    <a:pt x="3" y="100"/>
                    <a:pt x="0" y="97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97" y="0"/>
                    <a:pt x="99" y="3"/>
                    <a:pt x="99" y="6"/>
                  </a:cubicBezTo>
                  <a:cubicBezTo>
                    <a:pt x="99" y="10"/>
                    <a:pt x="97" y="12"/>
                    <a:pt x="93" y="12"/>
                  </a:cubicBezTo>
                  <a:cubicBezTo>
                    <a:pt x="48" y="12"/>
                    <a:pt x="12" y="49"/>
                    <a:pt x="12" y="94"/>
                  </a:cubicBezTo>
                  <a:cubicBezTo>
                    <a:pt x="12" y="97"/>
                    <a:pt x="9" y="100"/>
                    <a:pt x="6" y="10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</p:grpSp>
      <p:sp>
        <p:nvSpPr>
          <p:cNvPr id="27" name="Shape1_20210630_091508">
            <a:extLst>
              <a:ext uri="{FF2B5EF4-FFF2-40B4-BE49-F238E27FC236}">
                <a16:creationId xmlns:a16="http://schemas.microsoft.com/office/drawing/2014/main" id="{112B6F28-F3C3-1DD4-C673-67329930E180}"/>
              </a:ext>
            </a:extLst>
          </p:cNvPr>
          <p:cNvSpPr/>
          <p:nvPr/>
        </p:nvSpPr>
        <p:spPr>
          <a:xfrm>
            <a:off x="3645364" y="4497492"/>
            <a:ext cx="8028476" cy="117170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defRPr/>
            </a:pPr>
            <a:endParaRPr sz="2800" dirty="0">
              <a:solidFill>
                <a:srgbClr val="FFFFFF"/>
              </a:solidFill>
            </a:endParaRPr>
          </a:p>
        </p:txBody>
      </p:sp>
      <p:sp>
        <p:nvSpPr>
          <p:cNvPr id="28" name="Google Shape;511;p3">
            <a:extLst>
              <a:ext uri="{FF2B5EF4-FFF2-40B4-BE49-F238E27FC236}">
                <a16:creationId xmlns:a16="http://schemas.microsoft.com/office/drawing/2014/main" id="{111DE949-7DA8-6AF4-0CC4-F26710C17A86}"/>
              </a:ext>
            </a:extLst>
          </p:cNvPr>
          <p:cNvSpPr/>
          <p:nvPr/>
        </p:nvSpPr>
        <p:spPr>
          <a:xfrm>
            <a:off x="3736285" y="5226653"/>
            <a:ext cx="272140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600"/>
              <a:buFont typeface="Arial"/>
              <a:buNone/>
            </a:pPr>
            <a:r>
              <a:rPr lang="en-US" sz="1600" dirty="0">
                <a:solidFill>
                  <a:schemeClr val="bg1"/>
                </a:solidFill>
              </a:rPr>
              <a:t>Insert Text Here</a:t>
            </a:r>
            <a:endParaRPr sz="1600" dirty="0">
              <a:solidFill>
                <a:schemeClr val="bg1"/>
              </a:solidFill>
            </a:endParaRPr>
          </a:p>
        </p:txBody>
      </p:sp>
      <p:sp>
        <p:nvSpPr>
          <p:cNvPr id="83" name="Google Shape;513;p3">
            <a:extLst>
              <a:ext uri="{FF2B5EF4-FFF2-40B4-BE49-F238E27FC236}">
                <a16:creationId xmlns:a16="http://schemas.microsoft.com/office/drawing/2014/main" id="{8BF03853-45D8-FADA-F7C7-C5618E190C49}"/>
              </a:ext>
            </a:extLst>
          </p:cNvPr>
          <p:cNvSpPr/>
          <p:nvPr/>
        </p:nvSpPr>
        <p:spPr>
          <a:xfrm>
            <a:off x="4242541" y="4705077"/>
            <a:ext cx="221514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600"/>
              <a:buFont typeface="Arial"/>
              <a:buNone/>
            </a:pPr>
            <a:r>
              <a:rPr lang="en-US" sz="1600" b="1" dirty="0">
                <a:solidFill>
                  <a:schemeClr val="bg1"/>
                </a:solidFill>
              </a:rPr>
              <a:t>Title</a:t>
            </a:r>
            <a:endParaRPr sz="1600" b="1" dirty="0">
              <a:solidFill>
                <a:schemeClr val="bg1"/>
              </a:solidFill>
            </a:endParaRPr>
          </a:p>
        </p:txBody>
      </p:sp>
      <p:sp>
        <p:nvSpPr>
          <p:cNvPr id="84" name="Freeform 843">
            <a:extLst>
              <a:ext uri="{FF2B5EF4-FFF2-40B4-BE49-F238E27FC236}">
                <a16:creationId xmlns:a16="http://schemas.microsoft.com/office/drawing/2014/main" id="{CC2F5BD2-F2F1-6425-B39B-57B8C91EE685}"/>
              </a:ext>
            </a:extLst>
          </p:cNvPr>
          <p:cNvSpPr>
            <a:spLocks noEditPoints="1"/>
          </p:cNvSpPr>
          <p:nvPr/>
        </p:nvSpPr>
        <p:spPr bwMode="auto">
          <a:xfrm>
            <a:off x="3929827" y="4651245"/>
            <a:ext cx="59938" cy="63315"/>
          </a:xfrm>
          <a:custGeom>
            <a:avLst/>
            <a:gdLst>
              <a:gd name="T0" fmla="*/ 39 w 78"/>
              <a:gd name="T1" fmla="*/ 79 h 79"/>
              <a:gd name="T2" fmla="*/ 0 w 78"/>
              <a:gd name="T3" fmla="*/ 40 h 79"/>
              <a:gd name="T4" fmla="*/ 39 w 78"/>
              <a:gd name="T5" fmla="*/ 0 h 79"/>
              <a:gd name="T6" fmla="*/ 78 w 78"/>
              <a:gd name="T7" fmla="*/ 40 h 79"/>
              <a:gd name="T8" fmla="*/ 39 w 78"/>
              <a:gd name="T9" fmla="*/ 79 h 79"/>
              <a:gd name="T10" fmla="*/ 39 w 78"/>
              <a:gd name="T11" fmla="*/ 13 h 79"/>
              <a:gd name="T12" fmla="*/ 12 w 78"/>
              <a:gd name="T13" fmla="*/ 40 h 79"/>
              <a:gd name="T14" fmla="*/ 39 w 78"/>
              <a:gd name="T15" fmla="*/ 66 h 79"/>
              <a:gd name="T16" fmla="*/ 66 w 78"/>
              <a:gd name="T17" fmla="*/ 40 h 79"/>
              <a:gd name="T18" fmla="*/ 39 w 78"/>
              <a:gd name="T19" fmla="*/ 13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8" h="79">
                <a:moveTo>
                  <a:pt x="39" y="79"/>
                </a:moveTo>
                <a:cubicBezTo>
                  <a:pt x="17" y="79"/>
                  <a:pt x="0" y="61"/>
                  <a:pt x="0" y="40"/>
                </a:cubicBezTo>
                <a:cubicBezTo>
                  <a:pt x="0" y="18"/>
                  <a:pt x="17" y="0"/>
                  <a:pt x="39" y="0"/>
                </a:cubicBezTo>
                <a:cubicBezTo>
                  <a:pt x="60" y="0"/>
                  <a:pt x="78" y="18"/>
                  <a:pt x="78" y="40"/>
                </a:cubicBezTo>
                <a:cubicBezTo>
                  <a:pt x="78" y="61"/>
                  <a:pt x="60" y="79"/>
                  <a:pt x="39" y="79"/>
                </a:cubicBezTo>
                <a:close/>
                <a:moveTo>
                  <a:pt x="39" y="13"/>
                </a:moveTo>
                <a:cubicBezTo>
                  <a:pt x="24" y="13"/>
                  <a:pt x="12" y="25"/>
                  <a:pt x="12" y="40"/>
                </a:cubicBezTo>
                <a:cubicBezTo>
                  <a:pt x="12" y="54"/>
                  <a:pt x="24" y="66"/>
                  <a:pt x="39" y="66"/>
                </a:cubicBezTo>
                <a:cubicBezTo>
                  <a:pt x="54" y="66"/>
                  <a:pt x="66" y="54"/>
                  <a:pt x="66" y="40"/>
                </a:cubicBezTo>
                <a:cubicBezTo>
                  <a:pt x="66" y="25"/>
                  <a:pt x="54" y="13"/>
                  <a:pt x="39" y="1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85" name="Freeform 844">
            <a:extLst>
              <a:ext uri="{FF2B5EF4-FFF2-40B4-BE49-F238E27FC236}">
                <a16:creationId xmlns:a16="http://schemas.microsoft.com/office/drawing/2014/main" id="{5D2792CA-E03C-C4DA-99BF-16081FA03EAB}"/>
              </a:ext>
            </a:extLst>
          </p:cNvPr>
          <p:cNvSpPr>
            <a:spLocks noEditPoints="1"/>
          </p:cNvSpPr>
          <p:nvPr/>
        </p:nvSpPr>
        <p:spPr bwMode="auto">
          <a:xfrm>
            <a:off x="3787117" y="4746218"/>
            <a:ext cx="111313" cy="247503"/>
          </a:xfrm>
          <a:custGeom>
            <a:avLst/>
            <a:gdLst>
              <a:gd name="T0" fmla="*/ 110 w 139"/>
              <a:gd name="T1" fmla="*/ 311 h 311"/>
              <a:gd name="T2" fmla="*/ 87 w 139"/>
              <a:gd name="T3" fmla="*/ 300 h 311"/>
              <a:gd name="T4" fmla="*/ 65 w 139"/>
              <a:gd name="T5" fmla="*/ 311 h 311"/>
              <a:gd name="T6" fmla="*/ 36 w 139"/>
              <a:gd name="T7" fmla="*/ 282 h 311"/>
              <a:gd name="T8" fmla="*/ 36 w 139"/>
              <a:gd name="T9" fmla="*/ 158 h 311"/>
              <a:gd name="T10" fmla="*/ 26 w 139"/>
              <a:gd name="T11" fmla="*/ 161 h 311"/>
              <a:gd name="T12" fmla="*/ 8 w 139"/>
              <a:gd name="T13" fmla="*/ 155 h 311"/>
              <a:gd name="T14" fmla="*/ 0 w 139"/>
              <a:gd name="T15" fmla="*/ 137 h 311"/>
              <a:gd name="T16" fmla="*/ 0 w 139"/>
              <a:gd name="T17" fmla="*/ 42 h 311"/>
              <a:gd name="T18" fmla="*/ 42 w 139"/>
              <a:gd name="T19" fmla="*/ 0 h 311"/>
              <a:gd name="T20" fmla="*/ 132 w 139"/>
              <a:gd name="T21" fmla="*/ 0 h 311"/>
              <a:gd name="T22" fmla="*/ 137 w 139"/>
              <a:gd name="T23" fmla="*/ 3 h 311"/>
              <a:gd name="T24" fmla="*/ 138 w 139"/>
              <a:gd name="T25" fmla="*/ 8 h 311"/>
              <a:gd name="T26" fmla="*/ 136 w 139"/>
              <a:gd name="T27" fmla="*/ 19 h 311"/>
              <a:gd name="T28" fmla="*/ 136 w 139"/>
              <a:gd name="T29" fmla="*/ 123 h 311"/>
              <a:gd name="T30" fmla="*/ 138 w 139"/>
              <a:gd name="T31" fmla="*/ 130 h 311"/>
              <a:gd name="T32" fmla="*/ 139 w 139"/>
              <a:gd name="T33" fmla="*/ 133 h 311"/>
              <a:gd name="T34" fmla="*/ 139 w 139"/>
              <a:gd name="T35" fmla="*/ 136 h 311"/>
              <a:gd name="T36" fmla="*/ 139 w 139"/>
              <a:gd name="T37" fmla="*/ 137 h 311"/>
              <a:gd name="T38" fmla="*/ 139 w 139"/>
              <a:gd name="T39" fmla="*/ 137 h 311"/>
              <a:gd name="T40" fmla="*/ 139 w 139"/>
              <a:gd name="T41" fmla="*/ 140 h 311"/>
              <a:gd name="T42" fmla="*/ 139 w 139"/>
              <a:gd name="T43" fmla="*/ 140 h 311"/>
              <a:gd name="T44" fmla="*/ 139 w 139"/>
              <a:gd name="T45" fmla="*/ 282 h 311"/>
              <a:gd name="T46" fmla="*/ 110 w 139"/>
              <a:gd name="T47" fmla="*/ 311 h 311"/>
              <a:gd name="T48" fmla="*/ 93 w 139"/>
              <a:gd name="T49" fmla="*/ 282 h 311"/>
              <a:gd name="T50" fmla="*/ 110 w 139"/>
              <a:gd name="T51" fmla="*/ 298 h 311"/>
              <a:gd name="T52" fmla="*/ 126 w 139"/>
              <a:gd name="T53" fmla="*/ 282 h 311"/>
              <a:gd name="T54" fmla="*/ 126 w 139"/>
              <a:gd name="T55" fmla="*/ 137 h 311"/>
              <a:gd name="T56" fmla="*/ 126 w 139"/>
              <a:gd name="T57" fmla="*/ 136 h 311"/>
              <a:gd name="T58" fmla="*/ 126 w 139"/>
              <a:gd name="T59" fmla="*/ 135 h 311"/>
              <a:gd name="T60" fmla="*/ 123 w 139"/>
              <a:gd name="T61" fmla="*/ 123 h 311"/>
              <a:gd name="T62" fmla="*/ 123 w 139"/>
              <a:gd name="T63" fmla="*/ 19 h 311"/>
              <a:gd name="T64" fmla="*/ 124 w 139"/>
              <a:gd name="T65" fmla="*/ 12 h 311"/>
              <a:gd name="T66" fmla="*/ 42 w 139"/>
              <a:gd name="T67" fmla="*/ 12 h 311"/>
              <a:gd name="T68" fmla="*/ 12 w 139"/>
              <a:gd name="T69" fmla="*/ 42 h 311"/>
              <a:gd name="T70" fmla="*/ 12 w 139"/>
              <a:gd name="T71" fmla="*/ 137 h 311"/>
              <a:gd name="T72" fmla="*/ 16 w 139"/>
              <a:gd name="T73" fmla="*/ 146 h 311"/>
              <a:gd name="T74" fmla="*/ 25 w 139"/>
              <a:gd name="T75" fmla="*/ 149 h 311"/>
              <a:gd name="T76" fmla="*/ 36 w 139"/>
              <a:gd name="T77" fmla="*/ 137 h 311"/>
              <a:gd name="T78" fmla="*/ 36 w 139"/>
              <a:gd name="T79" fmla="*/ 71 h 311"/>
              <a:gd name="T80" fmla="*/ 42 w 139"/>
              <a:gd name="T81" fmla="*/ 65 h 311"/>
              <a:gd name="T82" fmla="*/ 48 w 139"/>
              <a:gd name="T83" fmla="*/ 71 h 311"/>
              <a:gd name="T84" fmla="*/ 48 w 139"/>
              <a:gd name="T85" fmla="*/ 282 h 311"/>
              <a:gd name="T86" fmla="*/ 65 w 139"/>
              <a:gd name="T87" fmla="*/ 298 h 311"/>
              <a:gd name="T88" fmla="*/ 81 w 139"/>
              <a:gd name="T89" fmla="*/ 282 h 311"/>
              <a:gd name="T90" fmla="*/ 81 w 139"/>
              <a:gd name="T91" fmla="*/ 172 h 311"/>
              <a:gd name="T92" fmla="*/ 87 w 139"/>
              <a:gd name="T93" fmla="*/ 166 h 311"/>
              <a:gd name="T94" fmla="*/ 93 w 139"/>
              <a:gd name="T95" fmla="*/ 172 h 311"/>
              <a:gd name="T96" fmla="*/ 93 w 139"/>
              <a:gd name="T97" fmla="*/ 282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9" h="311">
                <a:moveTo>
                  <a:pt x="110" y="311"/>
                </a:moveTo>
                <a:cubicBezTo>
                  <a:pt x="101" y="311"/>
                  <a:pt x="93" y="306"/>
                  <a:pt x="87" y="300"/>
                </a:cubicBezTo>
                <a:cubicBezTo>
                  <a:pt x="82" y="306"/>
                  <a:pt x="74" y="311"/>
                  <a:pt x="65" y="311"/>
                </a:cubicBezTo>
                <a:cubicBezTo>
                  <a:pt x="49" y="311"/>
                  <a:pt x="36" y="298"/>
                  <a:pt x="36" y="282"/>
                </a:cubicBezTo>
                <a:cubicBezTo>
                  <a:pt x="36" y="158"/>
                  <a:pt x="36" y="158"/>
                  <a:pt x="36" y="158"/>
                </a:cubicBezTo>
                <a:cubicBezTo>
                  <a:pt x="33" y="160"/>
                  <a:pt x="30" y="161"/>
                  <a:pt x="26" y="161"/>
                </a:cubicBezTo>
                <a:cubicBezTo>
                  <a:pt x="19" y="162"/>
                  <a:pt x="13" y="160"/>
                  <a:pt x="8" y="155"/>
                </a:cubicBezTo>
                <a:cubicBezTo>
                  <a:pt x="3" y="151"/>
                  <a:pt x="0" y="144"/>
                  <a:pt x="0" y="137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19"/>
                  <a:pt x="19" y="0"/>
                  <a:pt x="42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34" y="0"/>
                  <a:pt x="136" y="1"/>
                  <a:pt x="137" y="3"/>
                </a:cubicBezTo>
                <a:cubicBezTo>
                  <a:pt x="138" y="4"/>
                  <a:pt x="138" y="6"/>
                  <a:pt x="138" y="8"/>
                </a:cubicBezTo>
                <a:cubicBezTo>
                  <a:pt x="136" y="12"/>
                  <a:pt x="136" y="16"/>
                  <a:pt x="136" y="19"/>
                </a:cubicBezTo>
                <a:cubicBezTo>
                  <a:pt x="136" y="123"/>
                  <a:pt x="136" y="123"/>
                  <a:pt x="136" y="123"/>
                </a:cubicBezTo>
                <a:cubicBezTo>
                  <a:pt x="136" y="125"/>
                  <a:pt x="136" y="128"/>
                  <a:pt x="138" y="130"/>
                </a:cubicBezTo>
                <a:cubicBezTo>
                  <a:pt x="138" y="131"/>
                  <a:pt x="139" y="132"/>
                  <a:pt x="139" y="133"/>
                </a:cubicBezTo>
                <a:cubicBezTo>
                  <a:pt x="139" y="136"/>
                  <a:pt x="139" y="136"/>
                  <a:pt x="139" y="136"/>
                </a:cubicBezTo>
                <a:cubicBezTo>
                  <a:pt x="139" y="137"/>
                  <a:pt x="139" y="137"/>
                  <a:pt x="139" y="137"/>
                </a:cubicBezTo>
                <a:cubicBezTo>
                  <a:pt x="139" y="137"/>
                  <a:pt x="139" y="137"/>
                  <a:pt x="139" y="137"/>
                </a:cubicBezTo>
                <a:cubicBezTo>
                  <a:pt x="139" y="140"/>
                  <a:pt x="139" y="140"/>
                  <a:pt x="139" y="140"/>
                </a:cubicBezTo>
                <a:cubicBezTo>
                  <a:pt x="139" y="140"/>
                  <a:pt x="139" y="140"/>
                  <a:pt x="139" y="140"/>
                </a:cubicBezTo>
                <a:cubicBezTo>
                  <a:pt x="139" y="282"/>
                  <a:pt x="139" y="282"/>
                  <a:pt x="139" y="282"/>
                </a:cubicBezTo>
                <a:cubicBezTo>
                  <a:pt x="139" y="298"/>
                  <a:pt x="126" y="311"/>
                  <a:pt x="110" y="311"/>
                </a:cubicBezTo>
                <a:close/>
                <a:moveTo>
                  <a:pt x="93" y="282"/>
                </a:moveTo>
                <a:cubicBezTo>
                  <a:pt x="93" y="291"/>
                  <a:pt x="101" y="298"/>
                  <a:pt x="110" y="298"/>
                </a:cubicBezTo>
                <a:cubicBezTo>
                  <a:pt x="119" y="298"/>
                  <a:pt x="126" y="291"/>
                  <a:pt x="126" y="282"/>
                </a:cubicBezTo>
                <a:cubicBezTo>
                  <a:pt x="126" y="137"/>
                  <a:pt x="126" y="137"/>
                  <a:pt x="126" y="137"/>
                </a:cubicBezTo>
                <a:cubicBezTo>
                  <a:pt x="126" y="137"/>
                  <a:pt x="126" y="136"/>
                  <a:pt x="126" y="136"/>
                </a:cubicBezTo>
                <a:cubicBezTo>
                  <a:pt x="126" y="136"/>
                  <a:pt x="126" y="135"/>
                  <a:pt x="126" y="135"/>
                </a:cubicBezTo>
                <a:cubicBezTo>
                  <a:pt x="124" y="131"/>
                  <a:pt x="123" y="127"/>
                  <a:pt x="123" y="123"/>
                </a:cubicBezTo>
                <a:cubicBezTo>
                  <a:pt x="123" y="19"/>
                  <a:pt x="123" y="19"/>
                  <a:pt x="123" y="19"/>
                </a:cubicBezTo>
                <a:cubicBezTo>
                  <a:pt x="123" y="17"/>
                  <a:pt x="124" y="15"/>
                  <a:pt x="124" y="12"/>
                </a:cubicBezTo>
                <a:cubicBezTo>
                  <a:pt x="42" y="12"/>
                  <a:pt x="42" y="12"/>
                  <a:pt x="42" y="12"/>
                </a:cubicBezTo>
                <a:cubicBezTo>
                  <a:pt x="25" y="12"/>
                  <a:pt x="12" y="26"/>
                  <a:pt x="12" y="42"/>
                </a:cubicBezTo>
                <a:cubicBezTo>
                  <a:pt x="12" y="137"/>
                  <a:pt x="12" y="137"/>
                  <a:pt x="12" y="137"/>
                </a:cubicBezTo>
                <a:cubicBezTo>
                  <a:pt x="12" y="141"/>
                  <a:pt x="13" y="144"/>
                  <a:pt x="16" y="146"/>
                </a:cubicBezTo>
                <a:cubicBezTo>
                  <a:pt x="18" y="148"/>
                  <a:pt x="22" y="150"/>
                  <a:pt x="25" y="149"/>
                </a:cubicBezTo>
                <a:cubicBezTo>
                  <a:pt x="31" y="149"/>
                  <a:pt x="36" y="143"/>
                  <a:pt x="36" y="137"/>
                </a:cubicBezTo>
                <a:cubicBezTo>
                  <a:pt x="36" y="71"/>
                  <a:pt x="36" y="71"/>
                  <a:pt x="36" y="71"/>
                </a:cubicBezTo>
                <a:cubicBezTo>
                  <a:pt x="36" y="68"/>
                  <a:pt x="39" y="65"/>
                  <a:pt x="42" y="65"/>
                </a:cubicBezTo>
                <a:cubicBezTo>
                  <a:pt x="45" y="65"/>
                  <a:pt x="48" y="68"/>
                  <a:pt x="48" y="71"/>
                </a:cubicBezTo>
                <a:cubicBezTo>
                  <a:pt x="48" y="282"/>
                  <a:pt x="48" y="282"/>
                  <a:pt x="48" y="282"/>
                </a:cubicBezTo>
                <a:cubicBezTo>
                  <a:pt x="48" y="291"/>
                  <a:pt x="55" y="298"/>
                  <a:pt x="65" y="298"/>
                </a:cubicBezTo>
                <a:cubicBezTo>
                  <a:pt x="74" y="298"/>
                  <a:pt x="81" y="291"/>
                  <a:pt x="81" y="282"/>
                </a:cubicBezTo>
                <a:cubicBezTo>
                  <a:pt x="81" y="172"/>
                  <a:pt x="81" y="172"/>
                  <a:pt x="81" y="172"/>
                </a:cubicBezTo>
                <a:cubicBezTo>
                  <a:pt x="81" y="169"/>
                  <a:pt x="84" y="166"/>
                  <a:pt x="87" y="166"/>
                </a:cubicBezTo>
                <a:cubicBezTo>
                  <a:pt x="91" y="166"/>
                  <a:pt x="93" y="169"/>
                  <a:pt x="93" y="172"/>
                </a:cubicBezTo>
                <a:lnTo>
                  <a:pt x="93" y="28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86" name="Freeform 845">
            <a:extLst>
              <a:ext uri="{FF2B5EF4-FFF2-40B4-BE49-F238E27FC236}">
                <a16:creationId xmlns:a16="http://schemas.microsoft.com/office/drawing/2014/main" id="{FF2E1B39-8508-FE58-F22E-D37E473482AF}"/>
              </a:ext>
            </a:extLst>
          </p:cNvPr>
          <p:cNvSpPr>
            <a:spLocks noEditPoints="1"/>
          </p:cNvSpPr>
          <p:nvPr/>
        </p:nvSpPr>
        <p:spPr bwMode="auto">
          <a:xfrm>
            <a:off x="3827078" y="4680025"/>
            <a:ext cx="57083" cy="57559"/>
          </a:xfrm>
          <a:custGeom>
            <a:avLst/>
            <a:gdLst>
              <a:gd name="T0" fmla="*/ 36 w 73"/>
              <a:gd name="T1" fmla="*/ 73 h 73"/>
              <a:gd name="T2" fmla="*/ 0 w 73"/>
              <a:gd name="T3" fmla="*/ 36 h 73"/>
              <a:gd name="T4" fmla="*/ 36 w 73"/>
              <a:gd name="T5" fmla="*/ 0 h 73"/>
              <a:gd name="T6" fmla="*/ 73 w 73"/>
              <a:gd name="T7" fmla="*/ 36 h 73"/>
              <a:gd name="T8" fmla="*/ 36 w 73"/>
              <a:gd name="T9" fmla="*/ 73 h 73"/>
              <a:gd name="T10" fmla="*/ 36 w 73"/>
              <a:gd name="T11" fmla="*/ 12 h 73"/>
              <a:gd name="T12" fmla="*/ 12 w 73"/>
              <a:gd name="T13" fmla="*/ 36 h 73"/>
              <a:gd name="T14" fmla="*/ 36 w 73"/>
              <a:gd name="T15" fmla="*/ 61 h 73"/>
              <a:gd name="T16" fmla="*/ 61 w 73"/>
              <a:gd name="T17" fmla="*/ 36 h 73"/>
              <a:gd name="T18" fmla="*/ 36 w 73"/>
              <a:gd name="T19" fmla="*/ 12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3" h="73">
                <a:moveTo>
                  <a:pt x="36" y="73"/>
                </a:moveTo>
                <a:cubicBezTo>
                  <a:pt x="16" y="73"/>
                  <a:pt x="0" y="56"/>
                  <a:pt x="0" y="36"/>
                </a:cubicBezTo>
                <a:cubicBezTo>
                  <a:pt x="0" y="16"/>
                  <a:pt x="16" y="0"/>
                  <a:pt x="36" y="0"/>
                </a:cubicBezTo>
                <a:cubicBezTo>
                  <a:pt x="56" y="0"/>
                  <a:pt x="73" y="16"/>
                  <a:pt x="73" y="36"/>
                </a:cubicBezTo>
                <a:cubicBezTo>
                  <a:pt x="73" y="56"/>
                  <a:pt x="56" y="73"/>
                  <a:pt x="36" y="73"/>
                </a:cubicBezTo>
                <a:close/>
                <a:moveTo>
                  <a:pt x="36" y="12"/>
                </a:moveTo>
                <a:cubicBezTo>
                  <a:pt x="23" y="12"/>
                  <a:pt x="12" y="23"/>
                  <a:pt x="12" y="36"/>
                </a:cubicBezTo>
                <a:cubicBezTo>
                  <a:pt x="12" y="50"/>
                  <a:pt x="23" y="61"/>
                  <a:pt x="36" y="61"/>
                </a:cubicBezTo>
                <a:cubicBezTo>
                  <a:pt x="50" y="61"/>
                  <a:pt x="61" y="50"/>
                  <a:pt x="61" y="36"/>
                </a:cubicBezTo>
                <a:cubicBezTo>
                  <a:pt x="61" y="23"/>
                  <a:pt x="50" y="12"/>
                  <a:pt x="36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87" name="Freeform 846">
            <a:extLst>
              <a:ext uri="{FF2B5EF4-FFF2-40B4-BE49-F238E27FC236}">
                <a16:creationId xmlns:a16="http://schemas.microsoft.com/office/drawing/2014/main" id="{7E79494E-1B05-45DF-AA4C-DD22CFF1D019}"/>
              </a:ext>
            </a:extLst>
          </p:cNvPr>
          <p:cNvSpPr>
            <a:spLocks noEditPoints="1"/>
          </p:cNvSpPr>
          <p:nvPr/>
        </p:nvSpPr>
        <p:spPr bwMode="auto">
          <a:xfrm>
            <a:off x="4021158" y="4746218"/>
            <a:ext cx="111313" cy="247503"/>
          </a:xfrm>
          <a:custGeom>
            <a:avLst/>
            <a:gdLst>
              <a:gd name="T0" fmla="*/ 74 w 139"/>
              <a:gd name="T1" fmla="*/ 311 h 311"/>
              <a:gd name="T2" fmla="*/ 51 w 139"/>
              <a:gd name="T3" fmla="*/ 300 h 311"/>
              <a:gd name="T4" fmla="*/ 29 w 139"/>
              <a:gd name="T5" fmla="*/ 311 h 311"/>
              <a:gd name="T6" fmla="*/ 0 w 139"/>
              <a:gd name="T7" fmla="*/ 282 h 311"/>
              <a:gd name="T8" fmla="*/ 0 w 139"/>
              <a:gd name="T9" fmla="*/ 137 h 311"/>
              <a:gd name="T10" fmla="*/ 0 w 139"/>
              <a:gd name="T11" fmla="*/ 135 h 311"/>
              <a:gd name="T12" fmla="*/ 3 w 139"/>
              <a:gd name="T13" fmla="*/ 123 h 311"/>
              <a:gd name="T14" fmla="*/ 3 w 139"/>
              <a:gd name="T15" fmla="*/ 19 h 311"/>
              <a:gd name="T16" fmla="*/ 1 w 139"/>
              <a:gd name="T17" fmla="*/ 8 h 311"/>
              <a:gd name="T18" fmla="*/ 2 w 139"/>
              <a:gd name="T19" fmla="*/ 3 h 311"/>
              <a:gd name="T20" fmla="*/ 7 w 139"/>
              <a:gd name="T21" fmla="*/ 0 h 311"/>
              <a:gd name="T22" fmla="*/ 97 w 139"/>
              <a:gd name="T23" fmla="*/ 0 h 311"/>
              <a:gd name="T24" fmla="*/ 139 w 139"/>
              <a:gd name="T25" fmla="*/ 42 h 311"/>
              <a:gd name="T26" fmla="*/ 139 w 139"/>
              <a:gd name="T27" fmla="*/ 137 h 311"/>
              <a:gd name="T28" fmla="*/ 131 w 139"/>
              <a:gd name="T29" fmla="*/ 155 h 311"/>
              <a:gd name="T30" fmla="*/ 112 w 139"/>
              <a:gd name="T31" fmla="*/ 161 h 311"/>
              <a:gd name="T32" fmla="*/ 103 w 139"/>
              <a:gd name="T33" fmla="*/ 158 h 311"/>
              <a:gd name="T34" fmla="*/ 103 w 139"/>
              <a:gd name="T35" fmla="*/ 282 h 311"/>
              <a:gd name="T36" fmla="*/ 74 w 139"/>
              <a:gd name="T37" fmla="*/ 311 h 311"/>
              <a:gd name="T38" fmla="*/ 58 w 139"/>
              <a:gd name="T39" fmla="*/ 282 h 311"/>
              <a:gd name="T40" fmla="*/ 74 w 139"/>
              <a:gd name="T41" fmla="*/ 298 h 311"/>
              <a:gd name="T42" fmla="*/ 91 w 139"/>
              <a:gd name="T43" fmla="*/ 282 h 311"/>
              <a:gd name="T44" fmla="*/ 91 w 139"/>
              <a:gd name="T45" fmla="*/ 137 h 311"/>
              <a:gd name="T46" fmla="*/ 91 w 139"/>
              <a:gd name="T47" fmla="*/ 137 h 311"/>
              <a:gd name="T48" fmla="*/ 91 w 139"/>
              <a:gd name="T49" fmla="*/ 71 h 311"/>
              <a:gd name="T50" fmla="*/ 97 w 139"/>
              <a:gd name="T51" fmla="*/ 65 h 311"/>
              <a:gd name="T52" fmla="*/ 103 w 139"/>
              <a:gd name="T53" fmla="*/ 71 h 311"/>
              <a:gd name="T54" fmla="*/ 103 w 139"/>
              <a:gd name="T55" fmla="*/ 136 h 311"/>
              <a:gd name="T56" fmla="*/ 103 w 139"/>
              <a:gd name="T57" fmla="*/ 137 h 311"/>
              <a:gd name="T58" fmla="*/ 114 w 139"/>
              <a:gd name="T59" fmla="*/ 149 h 311"/>
              <a:gd name="T60" fmla="*/ 123 w 139"/>
              <a:gd name="T61" fmla="*/ 146 h 311"/>
              <a:gd name="T62" fmla="*/ 127 w 139"/>
              <a:gd name="T63" fmla="*/ 137 h 311"/>
              <a:gd name="T64" fmla="*/ 127 w 139"/>
              <a:gd name="T65" fmla="*/ 42 h 311"/>
              <a:gd name="T66" fmla="*/ 97 w 139"/>
              <a:gd name="T67" fmla="*/ 12 h 311"/>
              <a:gd name="T68" fmla="*/ 15 w 139"/>
              <a:gd name="T69" fmla="*/ 12 h 311"/>
              <a:gd name="T70" fmla="*/ 15 w 139"/>
              <a:gd name="T71" fmla="*/ 19 h 311"/>
              <a:gd name="T72" fmla="*/ 15 w 139"/>
              <a:gd name="T73" fmla="*/ 123 h 311"/>
              <a:gd name="T74" fmla="*/ 12 w 139"/>
              <a:gd name="T75" fmla="*/ 137 h 311"/>
              <a:gd name="T76" fmla="*/ 12 w 139"/>
              <a:gd name="T77" fmla="*/ 282 h 311"/>
              <a:gd name="T78" fmla="*/ 29 w 139"/>
              <a:gd name="T79" fmla="*/ 298 h 311"/>
              <a:gd name="T80" fmla="*/ 45 w 139"/>
              <a:gd name="T81" fmla="*/ 282 h 311"/>
              <a:gd name="T82" fmla="*/ 45 w 139"/>
              <a:gd name="T83" fmla="*/ 172 h 311"/>
              <a:gd name="T84" fmla="*/ 51 w 139"/>
              <a:gd name="T85" fmla="*/ 166 h 311"/>
              <a:gd name="T86" fmla="*/ 58 w 139"/>
              <a:gd name="T87" fmla="*/ 172 h 311"/>
              <a:gd name="T88" fmla="*/ 58 w 139"/>
              <a:gd name="T89" fmla="*/ 282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39" h="311">
                <a:moveTo>
                  <a:pt x="74" y="311"/>
                </a:moveTo>
                <a:cubicBezTo>
                  <a:pt x="65" y="311"/>
                  <a:pt x="57" y="306"/>
                  <a:pt x="51" y="300"/>
                </a:cubicBezTo>
                <a:cubicBezTo>
                  <a:pt x="46" y="306"/>
                  <a:pt x="38" y="311"/>
                  <a:pt x="29" y="311"/>
                </a:cubicBezTo>
                <a:cubicBezTo>
                  <a:pt x="13" y="311"/>
                  <a:pt x="0" y="298"/>
                  <a:pt x="0" y="282"/>
                </a:cubicBezTo>
                <a:cubicBezTo>
                  <a:pt x="0" y="137"/>
                  <a:pt x="0" y="137"/>
                  <a:pt x="0" y="137"/>
                </a:cubicBezTo>
                <a:cubicBezTo>
                  <a:pt x="0" y="136"/>
                  <a:pt x="0" y="135"/>
                  <a:pt x="0" y="135"/>
                </a:cubicBezTo>
                <a:cubicBezTo>
                  <a:pt x="2" y="130"/>
                  <a:pt x="3" y="124"/>
                  <a:pt x="3" y="123"/>
                </a:cubicBezTo>
                <a:cubicBezTo>
                  <a:pt x="3" y="19"/>
                  <a:pt x="3" y="19"/>
                  <a:pt x="3" y="19"/>
                </a:cubicBezTo>
                <a:cubicBezTo>
                  <a:pt x="3" y="16"/>
                  <a:pt x="2" y="12"/>
                  <a:pt x="1" y="8"/>
                </a:cubicBezTo>
                <a:cubicBezTo>
                  <a:pt x="0" y="6"/>
                  <a:pt x="1" y="4"/>
                  <a:pt x="2" y="3"/>
                </a:cubicBezTo>
                <a:cubicBezTo>
                  <a:pt x="3" y="1"/>
                  <a:pt x="5" y="0"/>
                  <a:pt x="7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20" y="0"/>
                  <a:pt x="139" y="19"/>
                  <a:pt x="139" y="42"/>
                </a:cubicBezTo>
                <a:cubicBezTo>
                  <a:pt x="139" y="137"/>
                  <a:pt x="139" y="137"/>
                  <a:pt x="139" y="137"/>
                </a:cubicBezTo>
                <a:cubicBezTo>
                  <a:pt x="139" y="144"/>
                  <a:pt x="136" y="151"/>
                  <a:pt x="131" y="155"/>
                </a:cubicBezTo>
                <a:cubicBezTo>
                  <a:pt x="126" y="160"/>
                  <a:pt x="119" y="162"/>
                  <a:pt x="112" y="161"/>
                </a:cubicBezTo>
                <a:cubicBezTo>
                  <a:pt x="109" y="161"/>
                  <a:pt x="106" y="160"/>
                  <a:pt x="103" y="158"/>
                </a:cubicBezTo>
                <a:cubicBezTo>
                  <a:pt x="103" y="282"/>
                  <a:pt x="103" y="282"/>
                  <a:pt x="103" y="282"/>
                </a:cubicBezTo>
                <a:cubicBezTo>
                  <a:pt x="103" y="298"/>
                  <a:pt x="90" y="311"/>
                  <a:pt x="74" y="311"/>
                </a:cubicBezTo>
                <a:close/>
                <a:moveTo>
                  <a:pt x="58" y="282"/>
                </a:moveTo>
                <a:cubicBezTo>
                  <a:pt x="58" y="291"/>
                  <a:pt x="65" y="298"/>
                  <a:pt x="74" y="298"/>
                </a:cubicBezTo>
                <a:cubicBezTo>
                  <a:pt x="83" y="298"/>
                  <a:pt x="91" y="291"/>
                  <a:pt x="91" y="282"/>
                </a:cubicBezTo>
                <a:cubicBezTo>
                  <a:pt x="91" y="137"/>
                  <a:pt x="91" y="137"/>
                  <a:pt x="91" y="137"/>
                </a:cubicBezTo>
                <a:cubicBezTo>
                  <a:pt x="91" y="137"/>
                  <a:pt x="91" y="137"/>
                  <a:pt x="91" y="137"/>
                </a:cubicBezTo>
                <a:cubicBezTo>
                  <a:pt x="91" y="71"/>
                  <a:pt x="91" y="71"/>
                  <a:pt x="91" y="71"/>
                </a:cubicBezTo>
                <a:cubicBezTo>
                  <a:pt x="91" y="68"/>
                  <a:pt x="93" y="65"/>
                  <a:pt x="97" y="65"/>
                </a:cubicBezTo>
                <a:cubicBezTo>
                  <a:pt x="100" y="65"/>
                  <a:pt x="103" y="68"/>
                  <a:pt x="103" y="71"/>
                </a:cubicBezTo>
                <a:cubicBezTo>
                  <a:pt x="103" y="136"/>
                  <a:pt x="103" y="136"/>
                  <a:pt x="103" y="136"/>
                </a:cubicBezTo>
                <a:cubicBezTo>
                  <a:pt x="103" y="136"/>
                  <a:pt x="103" y="136"/>
                  <a:pt x="103" y="137"/>
                </a:cubicBezTo>
                <a:cubicBezTo>
                  <a:pt x="103" y="143"/>
                  <a:pt x="108" y="149"/>
                  <a:pt x="114" y="149"/>
                </a:cubicBezTo>
                <a:cubicBezTo>
                  <a:pt x="117" y="149"/>
                  <a:pt x="120" y="148"/>
                  <a:pt x="123" y="146"/>
                </a:cubicBezTo>
                <a:cubicBezTo>
                  <a:pt x="125" y="144"/>
                  <a:pt x="127" y="141"/>
                  <a:pt x="127" y="137"/>
                </a:cubicBezTo>
                <a:cubicBezTo>
                  <a:pt x="127" y="42"/>
                  <a:pt x="127" y="42"/>
                  <a:pt x="127" y="42"/>
                </a:cubicBezTo>
                <a:cubicBezTo>
                  <a:pt x="127" y="26"/>
                  <a:pt x="113" y="12"/>
                  <a:pt x="97" y="12"/>
                </a:cubicBezTo>
                <a:cubicBezTo>
                  <a:pt x="15" y="12"/>
                  <a:pt x="15" y="12"/>
                  <a:pt x="15" y="12"/>
                </a:cubicBezTo>
                <a:cubicBezTo>
                  <a:pt x="15" y="15"/>
                  <a:pt x="15" y="17"/>
                  <a:pt x="15" y="19"/>
                </a:cubicBezTo>
                <a:cubicBezTo>
                  <a:pt x="15" y="123"/>
                  <a:pt x="15" y="123"/>
                  <a:pt x="15" y="123"/>
                </a:cubicBezTo>
                <a:cubicBezTo>
                  <a:pt x="15" y="127"/>
                  <a:pt x="13" y="134"/>
                  <a:pt x="12" y="137"/>
                </a:cubicBezTo>
                <a:cubicBezTo>
                  <a:pt x="12" y="282"/>
                  <a:pt x="12" y="282"/>
                  <a:pt x="12" y="282"/>
                </a:cubicBezTo>
                <a:cubicBezTo>
                  <a:pt x="12" y="291"/>
                  <a:pt x="20" y="298"/>
                  <a:pt x="29" y="298"/>
                </a:cubicBezTo>
                <a:cubicBezTo>
                  <a:pt x="38" y="298"/>
                  <a:pt x="45" y="291"/>
                  <a:pt x="45" y="282"/>
                </a:cubicBezTo>
                <a:cubicBezTo>
                  <a:pt x="45" y="172"/>
                  <a:pt x="45" y="172"/>
                  <a:pt x="45" y="172"/>
                </a:cubicBezTo>
                <a:cubicBezTo>
                  <a:pt x="45" y="169"/>
                  <a:pt x="48" y="166"/>
                  <a:pt x="51" y="166"/>
                </a:cubicBezTo>
                <a:cubicBezTo>
                  <a:pt x="55" y="166"/>
                  <a:pt x="58" y="169"/>
                  <a:pt x="58" y="172"/>
                </a:cubicBezTo>
                <a:lnTo>
                  <a:pt x="58" y="28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88" name="Freeform 847">
            <a:extLst>
              <a:ext uri="{FF2B5EF4-FFF2-40B4-BE49-F238E27FC236}">
                <a16:creationId xmlns:a16="http://schemas.microsoft.com/office/drawing/2014/main" id="{56D1E04A-5AB4-4FBD-1A46-EBF3470849BC}"/>
              </a:ext>
            </a:extLst>
          </p:cNvPr>
          <p:cNvSpPr>
            <a:spLocks noEditPoints="1"/>
          </p:cNvSpPr>
          <p:nvPr/>
        </p:nvSpPr>
        <p:spPr bwMode="auto">
          <a:xfrm>
            <a:off x="3884160" y="4726072"/>
            <a:ext cx="148414" cy="267650"/>
          </a:xfrm>
          <a:custGeom>
            <a:avLst/>
            <a:gdLst>
              <a:gd name="T0" fmla="*/ 119 w 189"/>
              <a:gd name="T1" fmla="*/ 336 h 336"/>
              <a:gd name="T2" fmla="*/ 95 w 189"/>
              <a:gd name="T3" fmla="*/ 324 h 336"/>
              <a:gd name="T4" fmla="*/ 70 w 189"/>
              <a:gd name="T5" fmla="*/ 336 h 336"/>
              <a:gd name="T6" fmla="*/ 39 w 189"/>
              <a:gd name="T7" fmla="*/ 306 h 336"/>
              <a:gd name="T8" fmla="*/ 39 w 189"/>
              <a:gd name="T9" fmla="*/ 170 h 336"/>
              <a:gd name="T10" fmla="*/ 29 w 189"/>
              <a:gd name="T11" fmla="*/ 174 h 336"/>
              <a:gd name="T12" fmla="*/ 4 w 189"/>
              <a:gd name="T13" fmla="*/ 162 h 336"/>
              <a:gd name="T14" fmla="*/ 0 w 189"/>
              <a:gd name="T15" fmla="*/ 149 h 336"/>
              <a:gd name="T16" fmla="*/ 0 w 189"/>
              <a:gd name="T17" fmla="*/ 45 h 336"/>
              <a:gd name="T18" fmla="*/ 3 w 189"/>
              <a:gd name="T19" fmla="*/ 30 h 336"/>
              <a:gd name="T20" fmla="*/ 46 w 189"/>
              <a:gd name="T21" fmla="*/ 0 h 336"/>
              <a:gd name="T22" fmla="*/ 144 w 189"/>
              <a:gd name="T23" fmla="*/ 0 h 336"/>
              <a:gd name="T24" fmla="*/ 187 w 189"/>
              <a:gd name="T25" fmla="*/ 30 h 336"/>
              <a:gd name="T26" fmla="*/ 187 w 189"/>
              <a:gd name="T27" fmla="*/ 30 h 336"/>
              <a:gd name="T28" fmla="*/ 189 w 189"/>
              <a:gd name="T29" fmla="*/ 45 h 336"/>
              <a:gd name="T30" fmla="*/ 189 w 189"/>
              <a:gd name="T31" fmla="*/ 149 h 336"/>
              <a:gd name="T32" fmla="*/ 185 w 189"/>
              <a:gd name="T33" fmla="*/ 162 h 336"/>
              <a:gd name="T34" fmla="*/ 161 w 189"/>
              <a:gd name="T35" fmla="*/ 174 h 336"/>
              <a:gd name="T36" fmla="*/ 150 w 189"/>
              <a:gd name="T37" fmla="*/ 170 h 336"/>
              <a:gd name="T38" fmla="*/ 150 w 189"/>
              <a:gd name="T39" fmla="*/ 306 h 336"/>
              <a:gd name="T40" fmla="*/ 119 w 189"/>
              <a:gd name="T41" fmla="*/ 336 h 336"/>
              <a:gd name="T42" fmla="*/ 95 w 189"/>
              <a:gd name="T43" fmla="*/ 299 h 336"/>
              <a:gd name="T44" fmla="*/ 101 w 189"/>
              <a:gd name="T45" fmla="*/ 306 h 336"/>
              <a:gd name="T46" fmla="*/ 119 w 189"/>
              <a:gd name="T47" fmla="*/ 324 h 336"/>
              <a:gd name="T48" fmla="*/ 138 w 189"/>
              <a:gd name="T49" fmla="*/ 306 h 336"/>
              <a:gd name="T50" fmla="*/ 138 w 189"/>
              <a:gd name="T51" fmla="*/ 148 h 336"/>
              <a:gd name="T52" fmla="*/ 144 w 189"/>
              <a:gd name="T53" fmla="*/ 142 h 336"/>
              <a:gd name="T54" fmla="*/ 144 w 189"/>
              <a:gd name="T55" fmla="*/ 142 h 336"/>
              <a:gd name="T56" fmla="*/ 150 w 189"/>
              <a:gd name="T57" fmla="*/ 148 h 336"/>
              <a:gd name="T58" fmla="*/ 162 w 189"/>
              <a:gd name="T59" fmla="*/ 162 h 336"/>
              <a:gd name="T60" fmla="*/ 175 w 189"/>
              <a:gd name="T61" fmla="*/ 156 h 336"/>
              <a:gd name="T62" fmla="*/ 177 w 189"/>
              <a:gd name="T63" fmla="*/ 149 h 336"/>
              <a:gd name="T64" fmla="*/ 177 w 189"/>
              <a:gd name="T65" fmla="*/ 45 h 336"/>
              <a:gd name="T66" fmla="*/ 175 w 189"/>
              <a:gd name="T67" fmla="*/ 34 h 336"/>
              <a:gd name="T68" fmla="*/ 144 w 189"/>
              <a:gd name="T69" fmla="*/ 12 h 336"/>
              <a:gd name="T70" fmla="*/ 46 w 189"/>
              <a:gd name="T71" fmla="*/ 12 h 336"/>
              <a:gd name="T72" fmla="*/ 15 w 189"/>
              <a:gd name="T73" fmla="*/ 34 h 336"/>
              <a:gd name="T74" fmla="*/ 13 w 189"/>
              <a:gd name="T75" fmla="*/ 45 h 336"/>
              <a:gd name="T76" fmla="*/ 13 w 189"/>
              <a:gd name="T77" fmla="*/ 149 h 336"/>
              <a:gd name="T78" fmla="*/ 15 w 189"/>
              <a:gd name="T79" fmla="*/ 156 h 336"/>
              <a:gd name="T80" fmla="*/ 27 w 189"/>
              <a:gd name="T81" fmla="*/ 162 h 336"/>
              <a:gd name="T82" fmla="*/ 39 w 189"/>
              <a:gd name="T83" fmla="*/ 148 h 336"/>
              <a:gd name="T84" fmla="*/ 46 w 189"/>
              <a:gd name="T85" fmla="*/ 142 h 336"/>
              <a:gd name="T86" fmla="*/ 52 w 189"/>
              <a:gd name="T87" fmla="*/ 148 h 336"/>
              <a:gd name="T88" fmla="*/ 52 w 189"/>
              <a:gd name="T89" fmla="*/ 306 h 336"/>
              <a:gd name="T90" fmla="*/ 70 w 189"/>
              <a:gd name="T91" fmla="*/ 324 h 336"/>
              <a:gd name="T92" fmla="*/ 89 w 189"/>
              <a:gd name="T93" fmla="*/ 306 h 336"/>
              <a:gd name="T94" fmla="*/ 95 w 189"/>
              <a:gd name="T95" fmla="*/ 299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9" h="336">
                <a:moveTo>
                  <a:pt x="119" y="336"/>
                </a:moveTo>
                <a:cubicBezTo>
                  <a:pt x="109" y="336"/>
                  <a:pt x="100" y="331"/>
                  <a:pt x="95" y="324"/>
                </a:cubicBezTo>
                <a:cubicBezTo>
                  <a:pt x="89" y="331"/>
                  <a:pt x="80" y="336"/>
                  <a:pt x="70" y="336"/>
                </a:cubicBezTo>
                <a:cubicBezTo>
                  <a:pt x="53" y="336"/>
                  <a:pt x="39" y="323"/>
                  <a:pt x="39" y="306"/>
                </a:cubicBezTo>
                <a:cubicBezTo>
                  <a:pt x="39" y="170"/>
                  <a:pt x="39" y="170"/>
                  <a:pt x="39" y="170"/>
                </a:cubicBezTo>
                <a:cubicBezTo>
                  <a:pt x="36" y="173"/>
                  <a:pt x="33" y="174"/>
                  <a:pt x="29" y="174"/>
                </a:cubicBezTo>
                <a:cubicBezTo>
                  <a:pt x="19" y="175"/>
                  <a:pt x="10" y="171"/>
                  <a:pt x="4" y="162"/>
                </a:cubicBezTo>
                <a:cubicBezTo>
                  <a:pt x="2" y="158"/>
                  <a:pt x="0" y="153"/>
                  <a:pt x="0" y="149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0"/>
                  <a:pt x="1" y="35"/>
                  <a:pt x="3" y="30"/>
                </a:cubicBezTo>
                <a:cubicBezTo>
                  <a:pt x="9" y="12"/>
                  <a:pt x="27" y="0"/>
                  <a:pt x="46" y="0"/>
                </a:cubicBezTo>
                <a:cubicBezTo>
                  <a:pt x="144" y="0"/>
                  <a:pt x="144" y="0"/>
                  <a:pt x="144" y="0"/>
                </a:cubicBezTo>
                <a:cubicBezTo>
                  <a:pt x="163" y="0"/>
                  <a:pt x="180" y="12"/>
                  <a:pt x="187" y="30"/>
                </a:cubicBezTo>
                <a:cubicBezTo>
                  <a:pt x="187" y="30"/>
                  <a:pt x="187" y="30"/>
                  <a:pt x="187" y="30"/>
                </a:cubicBezTo>
                <a:cubicBezTo>
                  <a:pt x="188" y="35"/>
                  <a:pt x="189" y="40"/>
                  <a:pt x="189" y="45"/>
                </a:cubicBezTo>
                <a:cubicBezTo>
                  <a:pt x="189" y="149"/>
                  <a:pt x="189" y="149"/>
                  <a:pt x="189" y="149"/>
                </a:cubicBezTo>
                <a:cubicBezTo>
                  <a:pt x="189" y="153"/>
                  <a:pt x="188" y="158"/>
                  <a:pt x="185" y="162"/>
                </a:cubicBezTo>
                <a:cubicBezTo>
                  <a:pt x="180" y="171"/>
                  <a:pt x="171" y="175"/>
                  <a:pt x="161" y="174"/>
                </a:cubicBezTo>
                <a:cubicBezTo>
                  <a:pt x="157" y="174"/>
                  <a:pt x="153" y="173"/>
                  <a:pt x="150" y="170"/>
                </a:cubicBezTo>
                <a:cubicBezTo>
                  <a:pt x="150" y="306"/>
                  <a:pt x="150" y="306"/>
                  <a:pt x="150" y="306"/>
                </a:cubicBezTo>
                <a:cubicBezTo>
                  <a:pt x="150" y="323"/>
                  <a:pt x="136" y="336"/>
                  <a:pt x="119" y="336"/>
                </a:cubicBezTo>
                <a:close/>
                <a:moveTo>
                  <a:pt x="95" y="299"/>
                </a:moveTo>
                <a:cubicBezTo>
                  <a:pt x="98" y="299"/>
                  <a:pt x="101" y="302"/>
                  <a:pt x="101" y="306"/>
                </a:cubicBezTo>
                <a:cubicBezTo>
                  <a:pt x="101" y="316"/>
                  <a:pt x="109" y="324"/>
                  <a:pt x="119" y="324"/>
                </a:cubicBezTo>
                <a:cubicBezTo>
                  <a:pt x="130" y="324"/>
                  <a:pt x="138" y="316"/>
                  <a:pt x="138" y="306"/>
                </a:cubicBezTo>
                <a:cubicBezTo>
                  <a:pt x="138" y="148"/>
                  <a:pt x="138" y="148"/>
                  <a:pt x="138" y="148"/>
                </a:cubicBezTo>
                <a:cubicBezTo>
                  <a:pt x="138" y="145"/>
                  <a:pt x="141" y="142"/>
                  <a:pt x="144" y="142"/>
                </a:cubicBezTo>
                <a:cubicBezTo>
                  <a:pt x="144" y="142"/>
                  <a:pt x="144" y="142"/>
                  <a:pt x="144" y="142"/>
                </a:cubicBezTo>
                <a:cubicBezTo>
                  <a:pt x="147" y="142"/>
                  <a:pt x="150" y="144"/>
                  <a:pt x="150" y="148"/>
                </a:cubicBezTo>
                <a:cubicBezTo>
                  <a:pt x="150" y="155"/>
                  <a:pt x="156" y="161"/>
                  <a:pt x="162" y="162"/>
                </a:cubicBezTo>
                <a:cubicBezTo>
                  <a:pt x="167" y="163"/>
                  <a:pt x="172" y="160"/>
                  <a:pt x="175" y="156"/>
                </a:cubicBezTo>
                <a:cubicBezTo>
                  <a:pt x="176" y="154"/>
                  <a:pt x="177" y="151"/>
                  <a:pt x="177" y="149"/>
                </a:cubicBezTo>
                <a:cubicBezTo>
                  <a:pt x="177" y="45"/>
                  <a:pt x="177" y="45"/>
                  <a:pt x="177" y="45"/>
                </a:cubicBezTo>
                <a:cubicBezTo>
                  <a:pt x="177" y="42"/>
                  <a:pt x="176" y="38"/>
                  <a:pt x="175" y="34"/>
                </a:cubicBezTo>
                <a:cubicBezTo>
                  <a:pt x="170" y="21"/>
                  <a:pt x="158" y="12"/>
                  <a:pt x="144" y="12"/>
                </a:cubicBezTo>
                <a:cubicBezTo>
                  <a:pt x="46" y="12"/>
                  <a:pt x="46" y="12"/>
                  <a:pt x="46" y="12"/>
                </a:cubicBezTo>
                <a:cubicBezTo>
                  <a:pt x="32" y="12"/>
                  <a:pt x="19" y="21"/>
                  <a:pt x="15" y="34"/>
                </a:cubicBezTo>
                <a:cubicBezTo>
                  <a:pt x="13" y="38"/>
                  <a:pt x="13" y="42"/>
                  <a:pt x="13" y="45"/>
                </a:cubicBezTo>
                <a:cubicBezTo>
                  <a:pt x="13" y="149"/>
                  <a:pt x="13" y="149"/>
                  <a:pt x="13" y="149"/>
                </a:cubicBezTo>
                <a:cubicBezTo>
                  <a:pt x="13" y="151"/>
                  <a:pt x="13" y="154"/>
                  <a:pt x="15" y="156"/>
                </a:cubicBezTo>
                <a:cubicBezTo>
                  <a:pt x="17" y="160"/>
                  <a:pt x="22" y="163"/>
                  <a:pt x="27" y="162"/>
                </a:cubicBezTo>
                <a:cubicBezTo>
                  <a:pt x="34" y="161"/>
                  <a:pt x="39" y="155"/>
                  <a:pt x="39" y="148"/>
                </a:cubicBezTo>
                <a:cubicBezTo>
                  <a:pt x="39" y="144"/>
                  <a:pt x="42" y="142"/>
                  <a:pt x="46" y="142"/>
                </a:cubicBezTo>
                <a:cubicBezTo>
                  <a:pt x="49" y="142"/>
                  <a:pt x="52" y="144"/>
                  <a:pt x="52" y="148"/>
                </a:cubicBezTo>
                <a:cubicBezTo>
                  <a:pt x="52" y="306"/>
                  <a:pt x="52" y="306"/>
                  <a:pt x="52" y="306"/>
                </a:cubicBezTo>
                <a:cubicBezTo>
                  <a:pt x="52" y="316"/>
                  <a:pt x="60" y="324"/>
                  <a:pt x="70" y="324"/>
                </a:cubicBezTo>
                <a:cubicBezTo>
                  <a:pt x="80" y="324"/>
                  <a:pt x="89" y="316"/>
                  <a:pt x="89" y="306"/>
                </a:cubicBezTo>
                <a:cubicBezTo>
                  <a:pt x="89" y="302"/>
                  <a:pt x="91" y="299"/>
                  <a:pt x="95" y="2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89" name="Freeform 848">
            <a:extLst>
              <a:ext uri="{FF2B5EF4-FFF2-40B4-BE49-F238E27FC236}">
                <a16:creationId xmlns:a16="http://schemas.microsoft.com/office/drawing/2014/main" id="{EA078F5D-7BAA-6647-7B28-17F496CA9D11}"/>
              </a:ext>
            </a:extLst>
          </p:cNvPr>
          <p:cNvSpPr>
            <a:spLocks noEditPoints="1"/>
          </p:cNvSpPr>
          <p:nvPr/>
        </p:nvSpPr>
        <p:spPr bwMode="auto">
          <a:xfrm>
            <a:off x="4032577" y="4680025"/>
            <a:ext cx="57083" cy="57559"/>
          </a:xfrm>
          <a:custGeom>
            <a:avLst/>
            <a:gdLst>
              <a:gd name="T0" fmla="*/ 36 w 73"/>
              <a:gd name="T1" fmla="*/ 73 h 73"/>
              <a:gd name="T2" fmla="*/ 0 w 73"/>
              <a:gd name="T3" fmla="*/ 36 h 73"/>
              <a:gd name="T4" fmla="*/ 36 w 73"/>
              <a:gd name="T5" fmla="*/ 0 h 73"/>
              <a:gd name="T6" fmla="*/ 73 w 73"/>
              <a:gd name="T7" fmla="*/ 36 h 73"/>
              <a:gd name="T8" fmla="*/ 36 w 73"/>
              <a:gd name="T9" fmla="*/ 73 h 73"/>
              <a:gd name="T10" fmla="*/ 36 w 73"/>
              <a:gd name="T11" fmla="*/ 12 h 73"/>
              <a:gd name="T12" fmla="*/ 12 w 73"/>
              <a:gd name="T13" fmla="*/ 36 h 73"/>
              <a:gd name="T14" fmla="*/ 36 w 73"/>
              <a:gd name="T15" fmla="*/ 61 h 73"/>
              <a:gd name="T16" fmla="*/ 61 w 73"/>
              <a:gd name="T17" fmla="*/ 36 h 73"/>
              <a:gd name="T18" fmla="*/ 36 w 73"/>
              <a:gd name="T19" fmla="*/ 12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3" h="73">
                <a:moveTo>
                  <a:pt x="36" y="73"/>
                </a:moveTo>
                <a:cubicBezTo>
                  <a:pt x="16" y="73"/>
                  <a:pt x="0" y="56"/>
                  <a:pt x="0" y="36"/>
                </a:cubicBezTo>
                <a:cubicBezTo>
                  <a:pt x="0" y="16"/>
                  <a:pt x="16" y="0"/>
                  <a:pt x="36" y="0"/>
                </a:cubicBezTo>
                <a:cubicBezTo>
                  <a:pt x="57" y="0"/>
                  <a:pt x="73" y="16"/>
                  <a:pt x="73" y="36"/>
                </a:cubicBezTo>
                <a:cubicBezTo>
                  <a:pt x="73" y="56"/>
                  <a:pt x="57" y="73"/>
                  <a:pt x="36" y="73"/>
                </a:cubicBezTo>
                <a:close/>
                <a:moveTo>
                  <a:pt x="36" y="12"/>
                </a:moveTo>
                <a:cubicBezTo>
                  <a:pt x="23" y="12"/>
                  <a:pt x="12" y="23"/>
                  <a:pt x="12" y="36"/>
                </a:cubicBezTo>
                <a:cubicBezTo>
                  <a:pt x="12" y="50"/>
                  <a:pt x="23" y="61"/>
                  <a:pt x="36" y="61"/>
                </a:cubicBezTo>
                <a:cubicBezTo>
                  <a:pt x="50" y="61"/>
                  <a:pt x="61" y="50"/>
                  <a:pt x="61" y="36"/>
                </a:cubicBezTo>
                <a:cubicBezTo>
                  <a:pt x="61" y="23"/>
                  <a:pt x="50" y="12"/>
                  <a:pt x="36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90" name="Freeform 849">
            <a:extLst>
              <a:ext uri="{FF2B5EF4-FFF2-40B4-BE49-F238E27FC236}">
                <a16:creationId xmlns:a16="http://schemas.microsoft.com/office/drawing/2014/main" id="{A7FCDD82-BAA5-79B4-74D0-519A3AEF93D5}"/>
              </a:ext>
            </a:extLst>
          </p:cNvPr>
          <p:cNvSpPr>
            <a:spLocks/>
          </p:cNvSpPr>
          <p:nvPr/>
        </p:nvSpPr>
        <p:spPr bwMode="auto">
          <a:xfrm>
            <a:off x="3955512" y="4869968"/>
            <a:ext cx="8565" cy="103606"/>
          </a:xfrm>
          <a:custGeom>
            <a:avLst/>
            <a:gdLst>
              <a:gd name="T0" fmla="*/ 6 w 12"/>
              <a:gd name="T1" fmla="*/ 131 h 131"/>
              <a:gd name="T2" fmla="*/ 0 w 12"/>
              <a:gd name="T3" fmla="*/ 125 h 131"/>
              <a:gd name="T4" fmla="*/ 0 w 12"/>
              <a:gd name="T5" fmla="*/ 6 h 131"/>
              <a:gd name="T6" fmla="*/ 6 w 12"/>
              <a:gd name="T7" fmla="*/ 0 h 131"/>
              <a:gd name="T8" fmla="*/ 12 w 12"/>
              <a:gd name="T9" fmla="*/ 6 h 131"/>
              <a:gd name="T10" fmla="*/ 12 w 12"/>
              <a:gd name="T11" fmla="*/ 125 h 131"/>
              <a:gd name="T12" fmla="*/ 6 w 12"/>
              <a:gd name="T13" fmla="*/ 131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131">
                <a:moveTo>
                  <a:pt x="6" y="131"/>
                </a:moveTo>
                <a:cubicBezTo>
                  <a:pt x="2" y="131"/>
                  <a:pt x="0" y="128"/>
                  <a:pt x="0" y="125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9" y="0"/>
                  <a:pt x="12" y="3"/>
                  <a:pt x="12" y="6"/>
                </a:cubicBezTo>
                <a:cubicBezTo>
                  <a:pt x="12" y="125"/>
                  <a:pt x="12" y="125"/>
                  <a:pt x="12" y="125"/>
                </a:cubicBezTo>
                <a:cubicBezTo>
                  <a:pt x="12" y="128"/>
                  <a:pt x="9" y="131"/>
                  <a:pt x="6" y="13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91" name="Freeform 850">
            <a:extLst>
              <a:ext uri="{FF2B5EF4-FFF2-40B4-BE49-F238E27FC236}">
                <a16:creationId xmlns:a16="http://schemas.microsoft.com/office/drawing/2014/main" id="{CF3C4BEA-E6AD-B7AB-3D7B-B8352E826E8A}"/>
              </a:ext>
            </a:extLst>
          </p:cNvPr>
          <p:cNvSpPr>
            <a:spLocks/>
          </p:cNvSpPr>
          <p:nvPr/>
        </p:nvSpPr>
        <p:spPr bwMode="auto">
          <a:xfrm>
            <a:off x="3915553" y="4774997"/>
            <a:ext cx="8565" cy="74828"/>
          </a:xfrm>
          <a:custGeom>
            <a:avLst/>
            <a:gdLst>
              <a:gd name="T0" fmla="*/ 7 w 13"/>
              <a:gd name="T1" fmla="*/ 93 h 93"/>
              <a:gd name="T2" fmla="*/ 0 w 13"/>
              <a:gd name="T3" fmla="*/ 87 h 93"/>
              <a:gd name="T4" fmla="*/ 0 w 13"/>
              <a:gd name="T5" fmla="*/ 6 h 93"/>
              <a:gd name="T6" fmla="*/ 7 w 13"/>
              <a:gd name="T7" fmla="*/ 0 h 93"/>
              <a:gd name="T8" fmla="*/ 13 w 13"/>
              <a:gd name="T9" fmla="*/ 6 h 93"/>
              <a:gd name="T10" fmla="*/ 13 w 13"/>
              <a:gd name="T11" fmla="*/ 87 h 93"/>
              <a:gd name="T12" fmla="*/ 7 w 13"/>
              <a:gd name="T13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93">
                <a:moveTo>
                  <a:pt x="7" y="93"/>
                </a:moveTo>
                <a:cubicBezTo>
                  <a:pt x="3" y="93"/>
                  <a:pt x="0" y="90"/>
                  <a:pt x="0" y="87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7" y="0"/>
                </a:cubicBezTo>
                <a:cubicBezTo>
                  <a:pt x="10" y="0"/>
                  <a:pt x="13" y="3"/>
                  <a:pt x="13" y="6"/>
                </a:cubicBezTo>
                <a:cubicBezTo>
                  <a:pt x="13" y="87"/>
                  <a:pt x="13" y="87"/>
                  <a:pt x="13" y="87"/>
                </a:cubicBezTo>
                <a:cubicBezTo>
                  <a:pt x="13" y="90"/>
                  <a:pt x="10" y="93"/>
                  <a:pt x="7" y="9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92" name="Freeform 851">
            <a:extLst>
              <a:ext uri="{FF2B5EF4-FFF2-40B4-BE49-F238E27FC236}">
                <a16:creationId xmlns:a16="http://schemas.microsoft.com/office/drawing/2014/main" id="{E54A1648-BB6D-C8A9-7FA2-979F5B9D956E}"/>
              </a:ext>
            </a:extLst>
          </p:cNvPr>
          <p:cNvSpPr>
            <a:spLocks/>
          </p:cNvSpPr>
          <p:nvPr/>
        </p:nvSpPr>
        <p:spPr bwMode="auto">
          <a:xfrm>
            <a:off x="3992616" y="4774997"/>
            <a:ext cx="11416" cy="74828"/>
          </a:xfrm>
          <a:custGeom>
            <a:avLst/>
            <a:gdLst>
              <a:gd name="T0" fmla="*/ 6 w 12"/>
              <a:gd name="T1" fmla="*/ 93 h 93"/>
              <a:gd name="T2" fmla="*/ 0 w 12"/>
              <a:gd name="T3" fmla="*/ 87 h 93"/>
              <a:gd name="T4" fmla="*/ 0 w 12"/>
              <a:gd name="T5" fmla="*/ 6 h 93"/>
              <a:gd name="T6" fmla="*/ 6 w 12"/>
              <a:gd name="T7" fmla="*/ 0 h 93"/>
              <a:gd name="T8" fmla="*/ 12 w 12"/>
              <a:gd name="T9" fmla="*/ 6 h 93"/>
              <a:gd name="T10" fmla="*/ 12 w 12"/>
              <a:gd name="T11" fmla="*/ 87 h 93"/>
              <a:gd name="T12" fmla="*/ 6 w 12"/>
              <a:gd name="T13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93">
                <a:moveTo>
                  <a:pt x="6" y="93"/>
                </a:moveTo>
                <a:cubicBezTo>
                  <a:pt x="3" y="93"/>
                  <a:pt x="0" y="90"/>
                  <a:pt x="0" y="87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9" y="0"/>
                  <a:pt x="12" y="3"/>
                  <a:pt x="12" y="6"/>
                </a:cubicBezTo>
                <a:cubicBezTo>
                  <a:pt x="12" y="87"/>
                  <a:pt x="12" y="87"/>
                  <a:pt x="12" y="87"/>
                </a:cubicBezTo>
                <a:cubicBezTo>
                  <a:pt x="12" y="90"/>
                  <a:pt x="9" y="93"/>
                  <a:pt x="6" y="9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93" name="Google Shape;497;p3">
            <a:extLst>
              <a:ext uri="{FF2B5EF4-FFF2-40B4-BE49-F238E27FC236}">
                <a16:creationId xmlns:a16="http://schemas.microsoft.com/office/drawing/2014/main" id="{D059D40D-EC2E-9797-C9F7-0D6C39692076}"/>
              </a:ext>
            </a:extLst>
          </p:cNvPr>
          <p:cNvSpPr txBox="1">
            <a:spLocks/>
          </p:cNvSpPr>
          <p:nvPr/>
        </p:nvSpPr>
        <p:spPr>
          <a:xfrm>
            <a:off x="714255" y="1919516"/>
            <a:ext cx="2415508" cy="19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600" dirty="0"/>
              <a:t>Insert text here</a:t>
            </a:r>
            <a:endParaRPr sz="1600" dirty="0"/>
          </a:p>
        </p:txBody>
      </p:sp>
      <p:cxnSp>
        <p:nvCxnSpPr>
          <p:cNvPr id="95" name="Google Shape;514;p3">
            <a:extLst>
              <a:ext uri="{FF2B5EF4-FFF2-40B4-BE49-F238E27FC236}">
                <a16:creationId xmlns:a16="http://schemas.microsoft.com/office/drawing/2014/main" id="{17786058-5070-4892-CC87-0B0D163EB497}"/>
              </a:ext>
            </a:extLst>
          </p:cNvPr>
          <p:cNvCxnSpPr>
            <a:cxnSpLocks/>
          </p:cNvCxnSpPr>
          <p:nvPr/>
        </p:nvCxnSpPr>
        <p:spPr>
          <a:xfrm>
            <a:off x="3392016" y="1565742"/>
            <a:ext cx="0" cy="4103453"/>
          </a:xfrm>
          <a:prstGeom prst="straightConnector1">
            <a:avLst/>
          </a:prstGeom>
          <a:noFill/>
          <a:ln w="635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8881464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26</TotalTime>
  <Words>18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ase Study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60</cp:revision>
  <dcterms:created xsi:type="dcterms:W3CDTF">2021-03-31T02:49:57Z</dcterms:created>
  <dcterms:modified xsi:type="dcterms:W3CDTF">2025-10-15T03:53:12Z</dcterms:modified>
  <cp:category/>
</cp:coreProperties>
</file>